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63"/>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 id="2147475216" r:id="rId50"/>
    <p:sldId id="2147475217" r:id="rId51"/>
    <p:sldId id="2147475218" r:id="rId52"/>
    <p:sldId id="2147475219" r:id="rId53"/>
    <p:sldId id="2147475220" r:id="rId54"/>
    <p:sldId id="2147475221" r:id="rId55"/>
    <p:sldId id="2147475222" r:id="rId56"/>
    <p:sldId id="2147475223" r:id="rId57"/>
    <p:sldId id="2147475224" r:id="rId58"/>
    <p:sldId id="2147475225" r:id="rId59"/>
    <p:sldId id="2147475226" r:id="rId60"/>
    <p:sldId id="2147475227" r:id="rId61"/>
    <p:sldId id="2147475228" r:id="rId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33746717-5C14-46E8-8488-F0BDAD532C80}">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62" d="100"/>
          <a:sy n="62" d="100"/>
        </p:scale>
        <p:origin x="53" y="6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notesMaster" Target="notesMasters/notesMaster1.xml"/><Relationship Id="rId64" Type="http://schemas.openxmlformats.org/officeDocument/2006/relationships/presProps" Target="presProps.xml"/><Relationship Id="rId65" Type="http://schemas.openxmlformats.org/officeDocument/2006/relationships/viewProps" Target="viewProps.xml"/><Relationship Id="rId66" Type="http://schemas.openxmlformats.org/officeDocument/2006/relationships/theme" Target="theme/theme1.xml"/><Relationship Id="rId67" Type="http://schemas.openxmlformats.org/officeDocument/2006/relationships/tableStyles" Target="tableStyles.xml"/><Relationship Id="rId68" Type="http://schemas.microsoft.com/office/2015/10/relationships/revisionInfo" Target="revisionInfo.xml"/><Relationship Id="rId6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50ML</c:v>
                </c:pt>
                <c:pt idx="1">
                  <c:v>100ML</c:v>
                </c:pt>
                <c:pt idx="2">
                  <c:v>180ML</c:v>
                </c:pt>
              </c:strCache>
            </c:strRef>
          </c:cat>
          <c:val>
            <c:numRef>
              <c:f>Sheet1!$B$2:$B$4</c:f>
              <c:numCache>
                <c:formatCode>General</c:formatCode>
                <c:ptCount val="3"/>
                <c:pt idx="0">
                  <c:v>28.63286</c:v>
                </c:pt>
                <c:pt idx="1">
                  <c:v>2.19959</c:v>
                </c:pt>
                <c:pt idx="2">
                  <c:v>0.0662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9.88</a:t>
                    </a:r>
                  </a:p>
                </c:rich>
              </c:tx>
              <c:dLblPos val="t"/>
              <c:showLegendKey val="0"/>
              <c:showVal val="1"/>
              <c:showCatName val="0"/>
              <c:showSerName val="0"/>
              <c:showPercent val="0"/>
              <c:showBubbleSize val="0"/>
            </c:dLbl>
            <c:dLbl>
              <c:idx val="1"/>
              <c:tx>
                <c:rich>
                  <a:bodyPr/>
                  <a:lstStyle/>
                  <a:p>
                    <a:r>
                      <a:t>242.37</a:t>
                    </a:r>
                  </a:p>
                </c:rich>
              </c:tx>
              <c:dLblPos val="t"/>
              <c:showLegendKey val="0"/>
              <c:showVal val="1"/>
              <c:showCatName val="0"/>
              <c:showSerName val="0"/>
              <c:showPercent val="0"/>
              <c:showBubbleSize val="0"/>
            </c:dLbl>
            <c:dLbl>
              <c:idx val="2"/>
              <c:tx>
                <c:rich>
                  <a:bodyPr/>
                  <a:lstStyle/>
                  <a:p>
                    <a:r>
                      <a:t>405.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50ML</c:v>
                </c:pt>
                <c:pt idx="1">
                  <c:v>100ML</c:v>
                </c:pt>
                <c:pt idx="2">
                  <c:v>180ML</c:v>
                </c:pt>
              </c:strCache>
            </c:strRef>
          </c:cat>
          <c:val>
            <c:numRef>
              <c:f>Sheet1!$C$2:$C$4</c:f>
              <c:numCache>
                <c:formatCode>General</c:formatCode>
                <c:ptCount val="3"/>
                <c:pt idx="0">
                  <c:v>269.8821</c:v>
                </c:pt>
                <c:pt idx="1">
                  <c:v>242.3734</c:v>
                </c:pt>
                <c:pt idx="2">
                  <c:v>405.928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50ML</c:v>
                </c:pt>
                <c:pt idx="1">
                  <c:v>100ML</c:v>
                </c:pt>
                <c:pt idx="2">
                  <c:v>180ML</c:v>
                </c:pt>
              </c:strCache>
            </c:strRef>
          </c:cat>
          <c:val>
            <c:numRef>
              <c:f>Sheet1!$D$2:$D$4</c:f>
              <c:numCache>
                <c:formatCode>General</c:formatCode>
                <c:ptCount val="3"/>
                <c:pt idx="0">
                  <c:v>269.8821</c:v>
                </c:pt>
                <c:pt idx="1">
                  <c:v>539.7642</c:v>
                </c:pt>
                <c:pt idx="2">
                  <c:v>971.575559999999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5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50ML</c:v>
                </c:pt>
                <c:pt idx="1">
                  <c:v>100ML</c:v>
                </c:pt>
                <c:pt idx="2">
                  <c:v>180ML</c:v>
                </c:pt>
              </c:strCache>
            </c:strRef>
          </c:cat>
          <c:val>
            <c:numRef>
              <c:f>Sheet1!$E$2:$E$4</c:f>
              <c:numCache>
                <c:formatCode>General</c:formatCode>
                <c:ptCount val="3"/>
                <c:pt idx="0">
                  <c:v>269.8821</c:v>
                </c:pt>
                <c:pt idx="1">
                  <c:v>391.0688</c:v>
                </c:pt>
                <c:pt idx="2">
                  <c:v>688.7520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90ML</c:v>
                </c:pt>
                <c:pt idx="1">
                  <c:v>120ML</c:v>
                </c:pt>
                <c:pt idx="2">
                  <c:v>240ML</c:v>
                </c:pt>
              </c:strCache>
            </c:strRef>
          </c:cat>
          <c:val>
            <c:numRef>
              <c:f>Sheet1!$B$2:$B$4</c:f>
              <c:numCache>
                <c:formatCode>General</c:formatCode>
                <c:ptCount val="3"/>
                <c:pt idx="0">
                  <c:v>0.01891</c:v>
                </c:pt>
                <c:pt idx="1">
                  <c:v>58.97614</c:v>
                </c:pt>
                <c:pt idx="2">
                  <c:v>288.607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0</a:t>
                    </a:r>
                  </a:p>
                </c:rich>
              </c:tx>
              <c:dLblPos val="t"/>
              <c:showLegendKey val="0"/>
              <c:showVal val="1"/>
              <c:showCatName val="0"/>
              <c:showSerName val="0"/>
              <c:showPercent val="0"/>
              <c:showBubbleSize val="0"/>
            </c:dLbl>
            <c:dLbl>
              <c:idx val="1"/>
              <c:tx>
                <c:rich>
                  <a:bodyPr/>
                  <a:lstStyle/>
                  <a:p>
                    <a:r>
                      <a:t>189.81</a:t>
                    </a:r>
                  </a:p>
                </c:rich>
              </c:tx>
              <c:dLblPos val="t"/>
              <c:showLegendKey val="0"/>
              <c:showVal val="1"/>
              <c:showCatName val="0"/>
              <c:showSerName val="0"/>
              <c:showPercent val="0"/>
              <c:showBubbleSize val="0"/>
            </c:dLbl>
            <c:dLbl>
              <c:idx val="2"/>
              <c:tx>
                <c:rich>
                  <a:bodyPr/>
                  <a:lstStyle/>
                  <a:p>
                    <a:r>
                      <a:t>30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90ML</c:v>
                </c:pt>
                <c:pt idx="1">
                  <c:v>120ML</c:v>
                </c:pt>
                <c:pt idx="2">
                  <c:v>240ML</c:v>
                </c:pt>
              </c:strCache>
            </c:strRef>
          </c:cat>
          <c:val>
            <c:numRef>
              <c:f>Sheet1!$C$2:$C$4</c:f>
              <c:numCache>
                <c:formatCode>General</c:formatCode>
                <c:ptCount val="3"/>
                <c:pt idx="0">
                  <c:v>94.0</c:v>
                </c:pt>
                <c:pt idx="1">
                  <c:v>189.8128</c:v>
                </c:pt>
                <c:pt idx="2">
                  <c:v>304.697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90ML</c:v>
                </c:pt>
                <c:pt idx="1">
                  <c:v>120ML</c:v>
                </c:pt>
                <c:pt idx="2">
                  <c:v>240ML</c:v>
                </c:pt>
              </c:strCache>
            </c:strRef>
          </c:cat>
          <c:val>
            <c:numRef>
              <c:f>Sheet1!$D$2:$D$4</c:f>
              <c:numCache>
                <c:formatCode>General</c:formatCode>
                <c:ptCount val="3"/>
                <c:pt idx="0">
                  <c:v>114.2617125</c:v>
                </c:pt>
                <c:pt idx="1">
                  <c:v>152.34895</c:v>
                </c:pt>
                <c:pt idx="2">
                  <c:v>304.697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90ML</c:v>
                </c:pt>
                <c:pt idx="1">
                  <c:v>120ML</c:v>
                </c:pt>
                <c:pt idx="2">
                  <c:v>240ML</c:v>
                </c:pt>
              </c:strCache>
            </c:strRef>
          </c:cat>
          <c:val>
            <c:numRef>
              <c:f>Sheet1!$E$2:$E$4</c:f>
              <c:numCache>
                <c:formatCode>General</c:formatCode>
                <c:ptCount val="3"/>
                <c:pt idx="0">
                  <c:v>104.13085625</c:v>
                </c:pt>
                <c:pt idx="1">
                  <c:v>171.080875</c:v>
                </c:pt>
                <c:pt idx="2">
                  <c:v>304.697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7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50ML</c:v>
                </c:pt>
                <c:pt idx="1">
                  <c:v>60ML</c:v>
                </c:pt>
                <c:pt idx="2">
                  <c:v>90ML</c:v>
                </c:pt>
                <c:pt idx="3">
                  <c:v>120ML</c:v>
                </c:pt>
                <c:pt idx="4">
                  <c:v>150ML</c:v>
                </c:pt>
                <c:pt idx="5">
                  <c:v>180ML</c:v>
                </c:pt>
                <c:pt idx="6">
                  <c:v>240ML</c:v>
                </c:pt>
              </c:strCache>
            </c:strRef>
          </c:cat>
          <c:val>
            <c:numRef>
              <c:f>Sheet1!$B$2:$B$8</c:f>
              <c:numCache>
                <c:formatCode>General</c:formatCode>
                <c:ptCount val="7"/>
                <c:pt idx="0">
                  <c:v>5.21615</c:v>
                </c:pt>
                <c:pt idx="1">
                  <c:v>21.02445</c:v>
                </c:pt>
                <c:pt idx="2">
                  <c:v>52.34882</c:v>
                </c:pt>
                <c:pt idx="3">
                  <c:v>26.71756</c:v>
                </c:pt>
                <c:pt idx="4">
                  <c:v>1.45845</c:v>
                </c:pt>
                <c:pt idx="5">
                  <c:v>59.15334</c:v>
                </c:pt>
                <c:pt idx="6">
                  <c:v>223.069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04.64</a:t>
                    </a:r>
                  </a:p>
                </c:rich>
              </c:tx>
              <c:dLblPos val="t"/>
              <c:showLegendKey val="0"/>
              <c:showVal val="1"/>
              <c:showCatName val="0"/>
              <c:showSerName val="0"/>
              <c:showPercent val="0"/>
              <c:showBubbleSize val="0"/>
            </c:dLbl>
            <c:dLbl>
              <c:idx val="1"/>
              <c:tx>
                <c:rich>
                  <a:bodyPr/>
                  <a:lstStyle/>
                  <a:p>
                    <a:r>
                      <a:t>114.81</a:t>
                    </a:r>
                  </a:p>
                </c:rich>
              </c:tx>
              <c:dLblPos val="t"/>
              <c:showLegendKey val="0"/>
              <c:showVal val="1"/>
              <c:showCatName val="0"/>
              <c:showSerName val="0"/>
              <c:showPercent val="0"/>
              <c:showBubbleSize val="0"/>
            </c:dLbl>
            <c:dLbl>
              <c:idx val="2"/>
              <c:tx>
                <c:rich>
                  <a:bodyPr/>
                  <a:lstStyle/>
                  <a:p>
                    <a:r>
                      <a:t>102.57</a:t>
                    </a:r>
                  </a:p>
                </c:rich>
              </c:tx>
              <c:dLblPos val="t"/>
              <c:showLegendKey val="0"/>
              <c:showVal val="1"/>
              <c:showCatName val="0"/>
              <c:showSerName val="0"/>
              <c:showPercent val="0"/>
              <c:showBubbleSize val="0"/>
            </c:dLbl>
            <c:dLbl>
              <c:idx val="3"/>
              <c:tx>
                <c:rich>
                  <a:bodyPr/>
                  <a:lstStyle/>
                  <a:p>
                    <a:r>
                      <a:t>190.97</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34.19</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308.11</a:t>
                    </a:r>
                  </a:p>
                </c:rich>
              </c:tx>
              <c:dLblPos val="t"/>
              <c:showLegendKey val="0"/>
              <c:showVal val="1"/>
              <c:showCatName val="0"/>
              <c:showSerName val="0"/>
              <c:showPercent val="0"/>
              <c:showBubbleSize val="0"/>
            </c:dLbl>
            <c:dLbl>
              <c:idx val="6"/>
              <c:tx>
                <c:rich>
                  <a:bodyPr/>
                  <a:lstStyle/>
                  <a:p>
                    <a:r>
                      <a:t>304.96</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C$2:$C$8</c:f>
              <c:numCache>
                <c:formatCode>General</c:formatCode>
                <c:ptCount val="7"/>
                <c:pt idx="0">
                  <c:v>304.6423</c:v>
                </c:pt>
                <c:pt idx="1">
                  <c:v>114.8111</c:v>
                </c:pt>
                <c:pt idx="2">
                  <c:v>102.5661</c:v>
                </c:pt>
                <c:pt idx="3">
                  <c:v>190.9747</c:v>
                </c:pt>
                <c:pt idx="4">
                  <c:v>234.1893</c:v>
                </c:pt>
                <c:pt idx="5">
                  <c:v>308.1109</c:v>
                </c:pt>
                <c:pt idx="6">
                  <c:v>304.955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8</c:f>
              <c:strCache>
                <c:ptCount val="7"/>
                <c:pt idx="0">
                  <c:v>50ML</c:v>
                </c:pt>
                <c:pt idx="1">
                  <c:v>60ML</c:v>
                </c:pt>
                <c:pt idx="2">
                  <c:v>90ML</c:v>
                </c:pt>
                <c:pt idx="3">
                  <c:v>120ML</c:v>
                </c:pt>
                <c:pt idx="4">
                  <c:v>150ML</c:v>
                </c:pt>
                <c:pt idx="5">
                  <c:v>180ML</c:v>
                </c:pt>
                <c:pt idx="6">
                  <c:v>240ML</c:v>
                </c:pt>
              </c:strCache>
            </c:strRef>
          </c:cat>
          <c:val>
            <c:numRef>
              <c:f>Sheet1!$D$2:$D$8</c:f>
              <c:numCache>
                <c:formatCode>General</c:formatCode>
                <c:ptCount val="7"/>
                <c:pt idx="0">
                  <c:v>63.53239583333333</c:v>
                </c:pt>
                <c:pt idx="1">
                  <c:v>76.238875</c:v>
                </c:pt>
                <c:pt idx="2">
                  <c:v>114.3583125</c:v>
                </c:pt>
                <c:pt idx="3">
                  <c:v>152.47775</c:v>
                </c:pt>
                <c:pt idx="4">
                  <c:v>190.5971875</c:v>
                </c:pt>
                <c:pt idx="5">
                  <c:v>228.716625</c:v>
                </c:pt>
                <c:pt idx="6">
                  <c:v>304.955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8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3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E$2:$E$8</c:f>
              <c:numCache>
                <c:formatCode>General</c:formatCode>
                <c:ptCount val="7"/>
                <c:pt idx="0">
                  <c:v>184.08734791666666</c:v>
                </c:pt>
                <c:pt idx="1">
                  <c:v>95.5249875</c:v>
                </c:pt>
                <c:pt idx="2">
                  <c:v>108.46220625000001</c:v>
                </c:pt>
                <c:pt idx="3">
                  <c:v>171.726225</c:v>
                </c:pt>
                <c:pt idx="4">
                  <c:v>212.39324375</c:v>
                </c:pt>
                <c:pt idx="5">
                  <c:v>268.4137625</c:v>
                </c:pt>
                <c:pt idx="6">
                  <c:v>304.955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4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100ML</c:v>
                </c:pt>
                <c:pt idx="1">
                  <c:v>150ML</c:v>
                </c:pt>
                <c:pt idx="2">
                  <c:v>177ML</c:v>
                </c:pt>
                <c:pt idx="3">
                  <c:v>180ML</c:v>
                </c:pt>
                <c:pt idx="4">
                  <c:v>220ML</c:v>
                </c:pt>
              </c:strCache>
            </c:strRef>
          </c:cat>
          <c:val>
            <c:numRef>
              <c:f>Sheet1!$B$2:$B$6</c:f>
              <c:numCache>
                <c:formatCode>General</c:formatCode>
                <c:ptCount val="5"/>
                <c:pt idx="0">
                  <c:v>5.10934</c:v>
                </c:pt>
                <c:pt idx="1">
                  <c:v>7.09932</c:v>
                </c:pt>
                <c:pt idx="2">
                  <c:v>5.30101</c:v>
                </c:pt>
                <c:pt idx="3">
                  <c:v>78.67514</c:v>
                </c:pt>
                <c:pt idx="4">
                  <c:v>28.9791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42.06</a:t>
                    </a:r>
                  </a:p>
                </c:rich>
              </c:tx>
              <c:dLblPos val="t"/>
              <c:showLegendKey val="0"/>
              <c:showVal val="1"/>
              <c:showCatName val="0"/>
              <c:showSerName val="0"/>
              <c:showPercent val="0"/>
              <c:showBubbleSize val="0"/>
            </c:dLbl>
            <c:dLbl>
              <c:idx val="1"/>
              <c:tx>
                <c:rich>
                  <a:bodyPr/>
                  <a:lstStyle/>
                  <a:p>
                    <a:r>
                      <a:t>288.55</a:t>
                    </a:r>
                  </a:p>
                </c:rich>
              </c:tx>
              <c:dLblPos val="t"/>
              <c:showLegendKey val="0"/>
              <c:showVal val="1"/>
              <c:showCatName val="0"/>
              <c:showSerName val="0"/>
              <c:showPercent val="0"/>
              <c:showBubbleSize val="0"/>
            </c:dLbl>
            <c:dLbl>
              <c:idx val="2"/>
              <c:tx>
                <c:rich>
                  <a:bodyPr/>
                  <a:lstStyle/>
                  <a:p>
                    <a:r>
                      <a:t>253.42</a:t>
                    </a:r>
                  </a:p>
                </c:rich>
              </c:tx>
              <c:dLblPos val="t"/>
              <c:showLegendKey val="0"/>
              <c:showVal val="1"/>
              <c:showCatName val="0"/>
              <c:showSerName val="0"/>
              <c:showPercent val="0"/>
              <c:showBubbleSize val="0"/>
            </c:dLbl>
            <c:dLbl>
              <c:idx val="3"/>
              <c:tx>
                <c:rich>
                  <a:bodyPr/>
                  <a:lstStyle/>
                  <a:p>
                    <a:r>
                      <a:t>326.79</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96.15</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100ML</c:v>
                </c:pt>
                <c:pt idx="1">
                  <c:v>150ML</c:v>
                </c:pt>
                <c:pt idx="2">
                  <c:v>177ML</c:v>
                </c:pt>
                <c:pt idx="3">
                  <c:v>180ML</c:v>
                </c:pt>
                <c:pt idx="4">
                  <c:v>220ML</c:v>
                </c:pt>
              </c:strCache>
            </c:strRef>
          </c:cat>
          <c:val>
            <c:numRef>
              <c:f>Sheet1!$C$2:$C$6</c:f>
              <c:numCache>
                <c:formatCode>General</c:formatCode>
                <c:ptCount val="5"/>
                <c:pt idx="0">
                  <c:v>342.0618</c:v>
                </c:pt>
                <c:pt idx="1">
                  <c:v>288.549</c:v>
                </c:pt>
                <c:pt idx="2">
                  <c:v>253.4206</c:v>
                </c:pt>
                <c:pt idx="3">
                  <c:v>326.7873</c:v>
                </c:pt>
                <c:pt idx="4">
                  <c:v>296.15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100ML</c:v>
                </c:pt>
                <c:pt idx="1">
                  <c:v>150ML</c:v>
                </c:pt>
                <c:pt idx="2">
                  <c:v>177ML</c:v>
                </c:pt>
                <c:pt idx="3">
                  <c:v>180ML</c:v>
                </c:pt>
                <c:pt idx="4">
                  <c:v>220ML</c:v>
                </c:pt>
              </c:strCache>
            </c:strRef>
          </c:cat>
          <c:val>
            <c:numRef>
              <c:f>Sheet1!$D$2:$D$6</c:f>
              <c:numCache>
                <c:formatCode>General</c:formatCode>
                <c:ptCount val="5"/>
                <c:pt idx="0">
                  <c:v>181.5485</c:v>
                </c:pt>
                <c:pt idx="1">
                  <c:v>272.32275</c:v>
                </c:pt>
                <c:pt idx="2">
                  <c:v>321.340845</c:v>
                </c:pt>
                <c:pt idx="3">
                  <c:v>326.7873</c:v>
                </c:pt>
                <c:pt idx="4">
                  <c:v>399.40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100ML</c:v>
                </c:pt>
                <c:pt idx="1">
                  <c:v>150ML</c:v>
                </c:pt>
                <c:pt idx="2">
                  <c:v>177ML</c:v>
                </c:pt>
                <c:pt idx="3">
                  <c:v>180ML</c:v>
                </c:pt>
                <c:pt idx="4">
                  <c:v>220ML</c:v>
                </c:pt>
              </c:strCache>
            </c:strRef>
          </c:cat>
          <c:val>
            <c:numRef>
              <c:f>Sheet1!$E$2:$E$6</c:f>
              <c:numCache>
                <c:formatCode>General</c:formatCode>
                <c:ptCount val="5"/>
                <c:pt idx="0">
                  <c:v>261.80515</c:v>
                </c:pt>
                <c:pt idx="1">
                  <c:v>280.435875</c:v>
                </c:pt>
                <c:pt idx="2">
                  <c:v>287.3807225</c:v>
                </c:pt>
                <c:pt idx="3">
                  <c:v>326.7873</c:v>
                </c:pt>
                <c:pt idx="4">
                  <c:v>347.7795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31.31409</c:v>
                </c:pt>
                <c:pt idx="1">
                  <c:v>133.4513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11</a:t>
                    </a:r>
                  </a:p>
                </c:rich>
              </c:tx>
              <c:dLblPos val="t"/>
              <c:showLegendKey val="0"/>
              <c:showVal val="1"/>
              <c:showCatName val="0"/>
              <c:showSerName val="0"/>
              <c:showPercent val="0"/>
              <c:showBubbleSize val="0"/>
            </c:dLbl>
            <c:dLbl>
              <c:idx val="1"/>
              <c:tx>
                <c:rich>
                  <a:bodyPr/>
                  <a:lstStyle/>
                  <a:p>
                    <a:r>
                      <a:t>308.6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88.1079</c:v>
                </c:pt>
                <c:pt idx="1">
                  <c:v>308.694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77.173575</c:v>
                </c:pt>
                <c:pt idx="1">
                  <c:v>308.694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2.6407375</c:v>
                </c:pt>
                <c:pt idx="1">
                  <c:v>308.694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6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230ML</c:v>
                </c:pt>
                <c:pt idx="1">
                  <c:v>453ML</c:v>
                </c:pt>
                <c:pt idx="2">
                  <c:v>473ML</c:v>
                </c:pt>
              </c:strCache>
            </c:strRef>
          </c:cat>
          <c:val>
            <c:numRef>
              <c:f>Sheet1!$B$2:$B$4</c:f>
              <c:numCache>
                <c:formatCode>General</c:formatCode>
                <c:ptCount val="3"/>
                <c:pt idx="0">
                  <c:v>56.53193</c:v>
                </c:pt>
                <c:pt idx="1">
                  <c:v>0.51207</c:v>
                </c:pt>
                <c:pt idx="2">
                  <c:v>9.4918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48.93</a:t>
                    </a:r>
                  </a:p>
                </c:rich>
              </c:tx>
              <c:dLblPos val="t"/>
              <c:showLegendKey val="0"/>
              <c:showVal val="1"/>
              <c:showCatName val="0"/>
              <c:showSerName val="0"/>
              <c:showPercent val="0"/>
              <c:showBubbleSize val="0"/>
            </c:dLbl>
            <c:dLbl>
              <c:idx val="1"/>
              <c:tx>
                <c:rich>
                  <a:bodyPr/>
                  <a:lstStyle/>
                  <a:p>
                    <a:r>
                      <a:t>152.48</a:t>
                    </a:r>
                  </a:p>
                </c:rich>
              </c:tx>
              <c:dLblPos val="t"/>
              <c:showLegendKey val="0"/>
              <c:showVal val="1"/>
              <c:showCatName val="0"/>
              <c:showSerName val="0"/>
              <c:showPercent val="0"/>
              <c:showBubbleSize val="0"/>
            </c:dLbl>
            <c:dLbl>
              <c:idx val="2"/>
              <c:tx>
                <c:rich>
                  <a:bodyPr/>
                  <a:lstStyle/>
                  <a:p>
                    <a:r>
                      <a:t>160.3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30ML</c:v>
                </c:pt>
                <c:pt idx="1">
                  <c:v>453ML</c:v>
                </c:pt>
                <c:pt idx="2">
                  <c:v>473ML</c:v>
                </c:pt>
              </c:strCache>
            </c:strRef>
          </c:cat>
          <c:val>
            <c:numRef>
              <c:f>Sheet1!$C$2:$C$4</c:f>
              <c:numCache>
                <c:formatCode>General</c:formatCode>
                <c:ptCount val="3"/>
                <c:pt idx="0">
                  <c:v>148.9307</c:v>
                </c:pt>
                <c:pt idx="1">
                  <c:v>152.4805</c:v>
                </c:pt>
                <c:pt idx="2">
                  <c:v>160.343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230ML</c:v>
                </c:pt>
                <c:pt idx="1">
                  <c:v>453ML</c:v>
                </c:pt>
                <c:pt idx="2">
                  <c:v>473ML</c:v>
                </c:pt>
              </c:strCache>
            </c:strRef>
          </c:cat>
          <c:val>
            <c:numRef>
              <c:f>Sheet1!$D$2:$D$4</c:f>
              <c:numCache>
                <c:formatCode>General</c:formatCode>
                <c:ptCount val="3"/>
                <c:pt idx="0">
                  <c:v>148.9307</c:v>
                </c:pt>
                <c:pt idx="1">
                  <c:v>293.3287265217391</c:v>
                </c:pt>
                <c:pt idx="2">
                  <c:v>306.27922217391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4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230ML</c:v>
                </c:pt>
                <c:pt idx="1">
                  <c:v>453ML</c:v>
                </c:pt>
                <c:pt idx="2">
                  <c:v>473ML</c:v>
                </c:pt>
              </c:strCache>
            </c:strRef>
          </c:cat>
          <c:val>
            <c:numRef>
              <c:f>Sheet1!$E$2:$E$4</c:f>
              <c:numCache>
                <c:formatCode>General</c:formatCode>
                <c:ptCount val="3"/>
                <c:pt idx="0">
                  <c:v>148.9307</c:v>
                </c:pt>
                <c:pt idx="1">
                  <c:v>222.90461326086955</c:v>
                </c:pt>
                <c:pt idx="2">
                  <c:v>233.31156108695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1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00ML</c:v>
                </c:pt>
                <c:pt idx="1">
                  <c:v>350ML</c:v>
                </c:pt>
              </c:strCache>
            </c:strRef>
          </c:cat>
          <c:val>
            <c:numRef>
              <c:f>Sheet1!$B$2:$B$3</c:f>
              <c:numCache>
                <c:formatCode>General</c:formatCode>
                <c:ptCount val="2"/>
                <c:pt idx="0">
                  <c:v>1.10995</c:v>
                </c:pt>
                <c:pt idx="1">
                  <c:v>0.4689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32.6</a:t>
                    </a:r>
                  </a:p>
                </c:rich>
              </c:tx>
              <c:dLblPos val="t"/>
              <c:showLegendKey val="0"/>
              <c:showVal val="1"/>
              <c:showCatName val="0"/>
              <c:showSerName val="0"/>
              <c:showPercent val="0"/>
              <c:showBubbleSize val="0"/>
            </c:dLbl>
            <c:dLbl>
              <c:idx val="1"/>
              <c:tx>
                <c:rich>
                  <a:bodyPr/>
                  <a:lstStyle/>
                  <a:p>
                    <a:r>
                      <a:t>439.9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00ML</c:v>
                </c:pt>
                <c:pt idx="1">
                  <c:v>350ML</c:v>
                </c:pt>
              </c:strCache>
            </c:strRef>
          </c:cat>
          <c:val>
            <c:numRef>
              <c:f>Sheet1!$C$2:$C$3</c:f>
              <c:numCache>
                <c:formatCode>General</c:formatCode>
                <c:ptCount val="2"/>
                <c:pt idx="0">
                  <c:v>332.5951</c:v>
                </c:pt>
                <c:pt idx="1">
                  <c:v>439.92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00ML</c:v>
                </c:pt>
                <c:pt idx="1">
                  <c:v>350ML</c:v>
                </c:pt>
              </c:strCache>
            </c:strRef>
          </c:cat>
          <c:val>
            <c:numRef>
              <c:f>Sheet1!$D$2:$D$3</c:f>
              <c:numCache>
                <c:formatCode>General</c:formatCode>
                <c:ptCount val="2"/>
                <c:pt idx="0">
                  <c:v>332.5951</c:v>
                </c:pt>
                <c:pt idx="1">
                  <c:v>388.0276166666666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00ML</c:v>
                </c:pt>
                <c:pt idx="1">
                  <c:v>350ML</c:v>
                </c:pt>
              </c:strCache>
            </c:strRef>
          </c:cat>
          <c:val>
            <c:numRef>
              <c:f>Sheet1!$E$2:$E$3</c:f>
              <c:numCache>
                <c:formatCode>General</c:formatCode>
                <c:ptCount val="2"/>
                <c:pt idx="0">
                  <c:v>332.5951</c:v>
                </c:pt>
                <c:pt idx="1">
                  <c:v>413.975208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36ML</c:v>
                </c:pt>
              </c:strCache>
            </c:strRef>
          </c:cat>
          <c:val>
            <c:numRef>
              <c:f>Sheet1!$B$2:$B$4</c:f>
              <c:numCache>
                <c:formatCode>General</c:formatCode>
                <c:ptCount val="3"/>
                <c:pt idx="0">
                  <c:v>0.09067</c:v>
                </c:pt>
                <c:pt idx="1">
                  <c:v>20.27606</c:v>
                </c:pt>
                <c:pt idx="2">
                  <c:v>86.6249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91</a:t>
                    </a:r>
                  </a:p>
                </c:rich>
              </c:tx>
              <c:dLblPos val="t"/>
              <c:showLegendKey val="0"/>
              <c:showVal val="1"/>
              <c:showCatName val="0"/>
              <c:showSerName val="0"/>
              <c:showPercent val="0"/>
              <c:showBubbleSize val="0"/>
            </c:dLbl>
            <c:dLbl>
              <c:idx val="1"/>
              <c:tx>
                <c:rich>
                  <a:bodyPr/>
                  <a:lstStyle/>
                  <a:p>
                    <a:r>
                      <a:t>260.55</a:t>
                    </a:r>
                  </a:p>
                </c:rich>
              </c:tx>
              <c:dLblPos val="t"/>
              <c:showLegendKey val="0"/>
              <c:showVal val="1"/>
              <c:showCatName val="0"/>
              <c:showSerName val="0"/>
              <c:showPercent val="0"/>
              <c:showBubbleSize val="0"/>
            </c:dLbl>
            <c:dLbl>
              <c:idx val="2"/>
              <c:tx>
                <c:rich>
                  <a:bodyPr/>
                  <a:lstStyle/>
                  <a:p>
                    <a:r>
                      <a:t>282.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36ML</c:v>
                </c:pt>
              </c:strCache>
            </c:strRef>
          </c:cat>
          <c:val>
            <c:numRef>
              <c:f>Sheet1!$C$2:$C$4</c:f>
              <c:numCache>
                <c:formatCode>General</c:formatCode>
                <c:ptCount val="3"/>
                <c:pt idx="0">
                  <c:v>94.9054</c:v>
                </c:pt>
                <c:pt idx="1">
                  <c:v>260.5489</c:v>
                </c:pt>
                <c:pt idx="2">
                  <c:v>282.809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36ML</c:v>
                </c:pt>
              </c:strCache>
            </c:strRef>
          </c:cat>
          <c:val>
            <c:numRef>
              <c:f>Sheet1!$D$2:$D$4</c:f>
              <c:numCache>
                <c:formatCode>General</c:formatCode>
                <c:ptCount val="3"/>
                <c:pt idx="0">
                  <c:v>71.90074576271186</c:v>
                </c:pt>
                <c:pt idx="1">
                  <c:v>215.7022372881356</c:v>
                </c:pt>
                <c:pt idx="2">
                  <c:v>282.809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36ML</c:v>
                </c:pt>
              </c:strCache>
            </c:strRef>
          </c:cat>
          <c:val>
            <c:numRef>
              <c:f>Sheet1!$E$2:$E$4</c:f>
              <c:numCache>
                <c:formatCode>General</c:formatCode>
                <c:ptCount val="3"/>
                <c:pt idx="0">
                  <c:v>83.40307288135594</c:v>
                </c:pt>
                <c:pt idx="1">
                  <c:v>238.1255686440678</c:v>
                </c:pt>
                <c:pt idx="2">
                  <c:v>282.809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7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20.61897</c:v>
                </c:pt>
                <c:pt idx="1">
                  <c:v>162.856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7.2</a:t>
                    </a:r>
                  </a:p>
                </c:rich>
              </c:tx>
              <c:dLblPos val="t"/>
              <c:showLegendKey val="0"/>
              <c:showVal val="1"/>
              <c:showCatName val="0"/>
              <c:showSerName val="0"/>
              <c:showPercent val="0"/>
              <c:showBubbleSize val="0"/>
            </c:dLbl>
            <c:dLbl>
              <c:idx val="1"/>
              <c:tx>
                <c:rich>
                  <a:bodyPr/>
                  <a:lstStyle/>
                  <a:p>
                    <a:r>
                      <a:t>296.6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97.1966</c:v>
                </c:pt>
                <c:pt idx="1">
                  <c:v>296.606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26.22522033898306</c:v>
                </c:pt>
                <c:pt idx="1">
                  <c:v>296.606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61.7109101694915</c:v>
                </c:pt>
                <c:pt idx="1">
                  <c:v>296.606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2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47.82373</c:v>
                </c:pt>
                <c:pt idx="1">
                  <c:v>17.73328</c:v>
                </c:pt>
                <c:pt idx="2">
                  <c:v>76.305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5.3</a:t>
                    </a:r>
                  </a:p>
                </c:rich>
              </c:tx>
              <c:dLblPos val="t"/>
              <c:showLegendKey val="0"/>
              <c:showVal val="1"/>
              <c:showCatName val="0"/>
              <c:showSerName val="0"/>
              <c:showPercent val="0"/>
              <c:showBubbleSize val="0"/>
            </c:dLbl>
            <c:dLbl>
              <c:idx val="1"/>
              <c:tx>
                <c:rich>
                  <a:bodyPr/>
                  <a:lstStyle/>
                  <a:p>
                    <a:r>
                      <a:t>246.09</a:t>
                    </a:r>
                  </a:p>
                </c:rich>
              </c:tx>
              <c:dLblPos val="t"/>
              <c:showLegendKey val="0"/>
              <c:showVal val="1"/>
              <c:showCatName val="0"/>
              <c:showSerName val="0"/>
              <c:showPercent val="0"/>
              <c:showBubbleSize val="0"/>
            </c:dLbl>
            <c:dLbl>
              <c:idx val="2"/>
              <c:tx>
                <c:rich>
                  <a:bodyPr/>
                  <a:lstStyle/>
                  <a:p>
                    <a:r>
                      <a:t>307.2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85.2959</c:v>
                </c:pt>
                <c:pt idx="1">
                  <c:v>246.0865</c:v>
                </c:pt>
                <c:pt idx="2">
                  <c:v>307.23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85.2959</c:v>
                </c:pt>
                <c:pt idx="1">
                  <c:v>255.8877</c:v>
                </c:pt>
                <c:pt idx="2">
                  <c:v>341.18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85.2959</c:v>
                </c:pt>
                <c:pt idx="1">
                  <c:v>250.9871</c:v>
                </c:pt>
                <c:pt idx="2">
                  <c:v>324.2088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72.89319</c:v>
                </c:pt>
                <c:pt idx="1">
                  <c:v>0.1597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4.53</a:t>
                    </a:r>
                  </a:p>
                </c:rich>
              </c:tx>
              <c:dLblPos val="t"/>
              <c:showLegendKey val="0"/>
              <c:showVal val="1"/>
              <c:showCatName val="0"/>
              <c:showSerName val="0"/>
              <c:showPercent val="0"/>
              <c:showBubbleSize val="0"/>
            </c:dLbl>
            <c:dLbl>
              <c:idx val="1"/>
              <c:tx>
                <c:rich>
                  <a:bodyPr/>
                  <a:lstStyle/>
                  <a:p>
                    <a:r>
                      <a:t>264.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294.5342</c:v>
                </c:pt>
                <c:pt idx="1">
                  <c:v>264.93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294.5342</c:v>
                </c:pt>
                <c:pt idx="1">
                  <c:v>311.859741176470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294.5342</c:v>
                </c:pt>
                <c:pt idx="1">
                  <c:v>288.3962205882353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00ML</c:v>
                </c:pt>
                <c:pt idx="1">
                  <c:v>350ML</c:v>
                </c:pt>
              </c:strCache>
            </c:strRef>
          </c:cat>
          <c:val>
            <c:numRef>
              <c:f>Sheet1!$B$2:$B$3</c:f>
              <c:numCache>
                <c:formatCode>General</c:formatCode>
                <c:ptCount val="2"/>
                <c:pt idx="0">
                  <c:v>1.10927</c:v>
                </c:pt>
                <c:pt idx="1">
                  <c:v>0.159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74.01</a:t>
                    </a:r>
                  </a:p>
                </c:rich>
              </c:tx>
              <c:dLblPos val="t"/>
              <c:showLegendKey val="0"/>
              <c:showVal val="1"/>
              <c:showCatName val="0"/>
              <c:showSerName val="0"/>
              <c:showPercent val="0"/>
              <c:showBubbleSize val="0"/>
            </c:dLbl>
            <c:dLbl>
              <c:idx val="1"/>
              <c:tx>
                <c:rich>
                  <a:bodyPr/>
                  <a:lstStyle/>
                  <a:p>
                    <a:r>
                      <a:t>458.6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00ML</c:v>
                </c:pt>
                <c:pt idx="1">
                  <c:v>350ML</c:v>
                </c:pt>
              </c:strCache>
            </c:strRef>
          </c:cat>
          <c:val>
            <c:numRef>
              <c:f>Sheet1!$C$2:$C$3</c:f>
              <c:numCache>
                <c:formatCode>General</c:formatCode>
                <c:ptCount val="2"/>
                <c:pt idx="0">
                  <c:v>374.0083</c:v>
                </c:pt>
                <c:pt idx="1">
                  <c:v>458.694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00ML</c:v>
                </c:pt>
                <c:pt idx="1">
                  <c:v>350ML</c:v>
                </c:pt>
              </c:strCache>
            </c:strRef>
          </c:cat>
          <c:val>
            <c:numRef>
              <c:f>Sheet1!$D$2:$D$3</c:f>
              <c:numCache>
                <c:formatCode>General</c:formatCode>
                <c:ptCount val="2"/>
                <c:pt idx="0">
                  <c:v>374.0083</c:v>
                </c:pt>
                <c:pt idx="1">
                  <c:v>436.34301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00ML</c:v>
                </c:pt>
                <c:pt idx="1">
                  <c:v>350ML</c:v>
                </c:pt>
              </c:strCache>
            </c:strRef>
          </c:cat>
          <c:val>
            <c:numRef>
              <c:f>Sheet1!$E$2:$E$3</c:f>
              <c:numCache>
                <c:formatCode>General</c:formatCode>
                <c:ptCount val="2"/>
                <c:pt idx="0">
                  <c:v>374.0083</c:v>
                </c:pt>
                <c:pt idx="1">
                  <c:v>447.5187083333333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9.89231</c:v>
                </c:pt>
                <c:pt idx="1">
                  <c:v>80.7153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4.62</a:t>
                    </a:r>
                  </a:p>
                </c:rich>
              </c:tx>
              <c:dLblPos val="t"/>
              <c:showLegendKey val="0"/>
              <c:showVal val="1"/>
              <c:showCatName val="0"/>
              <c:showSerName val="0"/>
              <c:showPercent val="0"/>
              <c:showBubbleSize val="0"/>
            </c:dLbl>
            <c:dLbl>
              <c:idx val="1"/>
              <c:tx>
                <c:rich>
                  <a:bodyPr/>
                  <a:lstStyle/>
                  <a:p>
                    <a:r>
                      <a:t>302.8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294.6222</c:v>
                </c:pt>
                <c:pt idx="1">
                  <c:v>302.863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34.03057727272727</c:v>
                </c:pt>
                <c:pt idx="1">
                  <c:v>302.863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64.3263886363636</c:v>
                </c:pt>
                <c:pt idx="1">
                  <c:v>302.863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6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7</c:f>
              <c:strCache>
                <c:ptCount val="6"/>
                <c:pt idx="0">
                  <c:v>30ML</c:v>
                </c:pt>
                <c:pt idx="1">
                  <c:v>60ML</c:v>
                </c:pt>
                <c:pt idx="2">
                  <c:v>118ML</c:v>
                </c:pt>
                <c:pt idx="3">
                  <c:v>180ML</c:v>
                </c:pt>
                <c:pt idx="4">
                  <c:v>236ML</c:v>
                </c:pt>
                <c:pt idx="5">
                  <c:v>472ML</c:v>
                </c:pt>
              </c:strCache>
            </c:strRef>
          </c:cat>
          <c:val>
            <c:numRef>
              <c:f>Sheet1!$B$2:$B$7</c:f>
              <c:numCache>
                <c:formatCode>General</c:formatCode>
                <c:ptCount val="6"/>
                <c:pt idx="0">
                  <c:v>0.22784</c:v>
                </c:pt>
                <c:pt idx="1">
                  <c:v>9.90681</c:v>
                </c:pt>
                <c:pt idx="2">
                  <c:v>4.01672</c:v>
                </c:pt>
                <c:pt idx="3">
                  <c:v>65.63602</c:v>
                </c:pt>
                <c:pt idx="4">
                  <c:v>61.35937</c:v>
                </c:pt>
                <c:pt idx="5">
                  <c:v>0.0118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8.92</a:t>
                    </a:r>
                  </a:p>
                </c:rich>
              </c:tx>
              <c:dLblPos val="t"/>
              <c:showLegendKey val="0"/>
              <c:showVal val="1"/>
              <c:showCatName val="0"/>
              <c:showSerName val="0"/>
              <c:showPercent val="0"/>
              <c:showBubbleSize val="0"/>
            </c:dLbl>
            <c:dLbl>
              <c:idx val="1"/>
              <c:tx>
                <c:rich>
                  <a:bodyPr/>
                  <a:lstStyle/>
                  <a:p>
                    <a:r>
                      <a:t>283.99</a:t>
                    </a:r>
                  </a:p>
                </c:rich>
              </c:tx>
              <c:dLblPos val="t"/>
              <c:showLegendKey val="0"/>
              <c:showVal val="1"/>
              <c:showCatName val="0"/>
              <c:showSerName val="0"/>
              <c:showPercent val="0"/>
              <c:showBubbleSize val="0"/>
            </c:dLbl>
            <c:dLbl>
              <c:idx val="2"/>
              <c:tx>
                <c:rich>
                  <a:bodyPr/>
                  <a:lstStyle/>
                  <a:p>
                    <a:r>
                      <a:t>158.83</a:t>
                    </a:r>
                  </a:p>
                </c:rich>
              </c:tx>
              <c:dLblPos val="t"/>
              <c:showLegendKey val="0"/>
              <c:showVal val="1"/>
              <c:showCatName val="0"/>
              <c:showSerName val="0"/>
              <c:showPercent val="0"/>
              <c:showBubbleSize val="0"/>
            </c:dLbl>
            <c:dLbl>
              <c:idx val="3"/>
              <c:tx>
                <c:rich>
                  <a:bodyPr/>
                  <a:lstStyle/>
                  <a:p>
                    <a:r>
                      <a:t>325.65</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58.77</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158.0</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30ML</c:v>
                </c:pt>
                <c:pt idx="1">
                  <c:v>60ML</c:v>
                </c:pt>
                <c:pt idx="2">
                  <c:v>118ML</c:v>
                </c:pt>
                <c:pt idx="3">
                  <c:v>180ML</c:v>
                </c:pt>
                <c:pt idx="4">
                  <c:v>236ML</c:v>
                </c:pt>
                <c:pt idx="5">
                  <c:v>472ML</c:v>
                </c:pt>
              </c:strCache>
            </c:strRef>
          </c:cat>
          <c:val>
            <c:numRef>
              <c:f>Sheet1!$C$2:$C$7</c:f>
              <c:numCache>
                <c:formatCode>General</c:formatCode>
                <c:ptCount val="6"/>
                <c:pt idx="0">
                  <c:v>38.9188</c:v>
                </c:pt>
                <c:pt idx="1">
                  <c:v>283.9938</c:v>
                </c:pt>
                <c:pt idx="2">
                  <c:v>158.8345</c:v>
                </c:pt>
                <c:pt idx="3">
                  <c:v>325.6502</c:v>
                </c:pt>
                <c:pt idx="4">
                  <c:v>258.767</c:v>
                </c:pt>
                <c:pt idx="5">
                  <c:v>158.0</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7</c:f>
              <c:strCache>
                <c:ptCount val="6"/>
                <c:pt idx="0">
                  <c:v>30ML</c:v>
                </c:pt>
                <c:pt idx="1">
                  <c:v>60ML</c:v>
                </c:pt>
                <c:pt idx="2">
                  <c:v>118ML</c:v>
                </c:pt>
                <c:pt idx="3">
                  <c:v>180ML</c:v>
                </c:pt>
                <c:pt idx="4">
                  <c:v>236ML</c:v>
                </c:pt>
                <c:pt idx="5">
                  <c:v>472ML</c:v>
                </c:pt>
              </c:strCache>
            </c:strRef>
          </c:cat>
          <c:val>
            <c:numRef>
              <c:f>Sheet1!$D$2:$D$7</c:f>
              <c:numCache>
                <c:formatCode>General</c:formatCode>
                <c:ptCount val="6"/>
                <c:pt idx="0">
                  <c:v>32.894110169491526</c:v>
                </c:pt>
                <c:pt idx="1">
                  <c:v>65.78822033898305</c:v>
                </c:pt>
                <c:pt idx="2">
                  <c:v>129.3835</c:v>
                </c:pt>
                <c:pt idx="3">
                  <c:v>197.36466101694916</c:v>
                </c:pt>
                <c:pt idx="4">
                  <c:v>258.767</c:v>
                </c:pt>
                <c:pt idx="5">
                  <c:v>517.53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6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6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7</c:f>
              <c:strCache>
                <c:ptCount val="6"/>
                <c:pt idx="0">
                  <c:v>30ML</c:v>
                </c:pt>
                <c:pt idx="1">
                  <c:v>60ML</c:v>
                </c:pt>
                <c:pt idx="2">
                  <c:v>118ML</c:v>
                </c:pt>
                <c:pt idx="3">
                  <c:v>180ML</c:v>
                </c:pt>
                <c:pt idx="4">
                  <c:v>236ML</c:v>
                </c:pt>
                <c:pt idx="5">
                  <c:v>472ML</c:v>
                </c:pt>
              </c:strCache>
            </c:strRef>
          </c:cat>
          <c:val>
            <c:numRef>
              <c:f>Sheet1!$E$2:$E$7</c:f>
              <c:numCache>
                <c:formatCode>General</c:formatCode>
                <c:ptCount val="6"/>
                <c:pt idx="0">
                  <c:v>35.90645508474576</c:v>
                </c:pt>
                <c:pt idx="1">
                  <c:v>174.89101016949155</c:v>
                </c:pt>
                <c:pt idx="2">
                  <c:v>144.10899999999998</c:v>
                </c:pt>
                <c:pt idx="3">
                  <c:v>261.50743050847456</c:v>
                </c:pt>
                <c:pt idx="4">
                  <c:v>258.767</c:v>
                </c:pt>
                <c:pt idx="5">
                  <c:v>337.7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10.87483</c:v>
                </c:pt>
                <c:pt idx="1">
                  <c:v>26.5300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2.19</a:t>
                    </a:r>
                  </a:p>
                </c:rich>
              </c:tx>
              <c:dLblPos val="t"/>
              <c:showLegendKey val="0"/>
              <c:showVal val="1"/>
              <c:showCatName val="0"/>
              <c:showSerName val="0"/>
              <c:showPercent val="0"/>
              <c:showBubbleSize val="0"/>
            </c:dLbl>
            <c:dLbl>
              <c:idx val="1"/>
              <c:tx>
                <c:rich>
                  <a:bodyPr/>
                  <a:lstStyle/>
                  <a:p>
                    <a:r>
                      <a:t>334.3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2.192</c:v>
                </c:pt>
                <c:pt idx="1">
                  <c:v>334.3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82.192</c:v>
                </c:pt>
                <c:pt idx="1">
                  <c:v>246.57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82.192</c:v>
                </c:pt>
                <c:pt idx="1">
                  <c:v>290.4828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680ML</c:v>
                </c:pt>
              </c:strCache>
            </c:strRef>
          </c:cat>
          <c:val>
            <c:numRef>
              <c:f>Sheet1!$B$2:$B$3</c:f>
              <c:numCache>
                <c:formatCode>General</c:formatCode>
                <c:ptCount val="2"/>
                <c:pt idx="0">
                  <c:v>1.9764</c:v>
                </c:pt>
                <c:pt idx="1">
                  <c:v>0.7272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1.24</a:t>
                    </a:r>
                  </a:p>
                </c:rich>
              </c:tx>
              <c:dLblPos val="t"/>
              <c:showLegendKey val="0"/>
              <c:showVal val="1"/>
              <c:showCatName val="0"/>
              <c:showSerName val="0"/>
              <c:showPercent val="0"/>
              <c:showBubbleSize val="0"/>
            </c:dLbl>
            <c:dLbl>
              <c:idx val="1"/>
              <c:tx>
                <c:rich>
                  <a:bodyPr/>
                  <a:lstStyle/>
                  <a:p>
                    <a:r>
                      <a:t>234.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680ML</c:v>
                </c:pt>
              </c:strCache>
            </c:strRef>
          </c:cat>
          <c:val>
            <c:numRef>
              <c:f>Sheet1!$C$2:$C$3</c:f>
              <c:numCache>
                <c:formatCode>General</c:formatCode>
                <c:ptCount val="2"/>
                <c:pt idx="0">
                  <c:v>311.2429</c:v>
                </c:pt>
                <c:pt idx="1">
                  <c:v>234.52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680ML</c:v>
                </c:pt>
              </c:strCache>
            </c:strRef>
          </c:cat>
          <c:val>
            <c:numRef>
              <c:f>Sheet1!$D$2:$D$3</c:f>
              <c:numCache>
                <c:formatCode>General</c:formatCode>
                <c:ptCount val="2"/>
                <c:pt idx="0">
                  <c:v>311.2429</c:v>
                </c:pt>
                <c:pt idx="1">
                  <c:v>1244.97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8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680ML</c:v>
                </c:pt>
              </c:strCache>
            </c:strRef>
          </c:cat>
          <c:val>
            <c:numRef>
              <c:f>Sheet1!$E$2:$E$3</c:f>
              <c:numCache>
                <c:formatCode>General</c:formatCode>
                <c:ptCount val="2"/>
                <c:pt idx="0">
                  <c:v>311.2429</c:v>
                </c:pt>
                <c:pt idx="1">
                  <c:v>739.7504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90ML</c:v>
                </c:pt>
                <c:pt idx="1">
                  <c:v>120ML</c:v>
                </c:pt>
                <c:pt idx="2">
                  <c:v>240ML</c:v>
                </c:pt>
              </c:strCache>
            </c:strRef>
          </c:cat>
          <c:val>
            <c:numRef>
              <c:f>Sheet1!$B$2:$B$4</c:f>
              <c:numCache>
                <c:formatCode>General</c:formatCode>
                <c:ptCount val="3"/>
                <c:pt idx="0">
                  <c:v>0.01891</c:v>
                </c:pt>
                <c:pt idx="1">
                  <c:v>3.84042</c:v>
                </c:pt>
                <c:pt idx="2">
                  <c:v>102.711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0</a:t>
                    </a:r>
                  </a:p>
                </c:rich>
              </c:tx>
              <c:dLblPos val="t"/>
              <c:showLegendKey val="0"/>
              <c:showVal val="1"/>
              <c:showCatName val="0"/>
              <c:showSerName val="0"/>
              <c:showPercent val="0"/>
              <c:showBubbleSize val="0"/>
            </c:dLbl>
            <c:dLbl>
              <c:idx val="1"/>
              <c:tx>
                <c:rich>
                  <a:bodyPr/>
                  <a:lstStyle/>
                  <a:p>
                    <a:r>
                      <a:t>194.87</a:t>
                    </a:r>
                  </a:p>
                </c:rich>
              </c:tx>
              <c:dLblPos val="t"/>
              <c:showLegendKey val="0"/>
              <c:showVal val="1"/>
              <c:showCatName val="0"/>
              <c:showSerName val="0"/>
              <c:showPercent val="0"/>
              <c:showBubbleSize val="0"/>
            </c:dLbl>
            <c:dLbl>
              <c:idx val="2"/>
              <c:tx>
                <c:rich>
                  <a:bodyPr/>
                  <a:lstStyle/>
                  <a:p>
                    <a:r>
                      <a:t>303.9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90ML</c:v>
                </c:pt>
                <c:pt idx="1">
                  <c:v>120ML</c:v>
                </c:pt>
                <c:pt idx="2">
                  <c:v>240ML</c:v>
                </c:pt>
              </c:strCache>
            </c:strRef>
          </c:cat>
          <c:val>
            <c:numRef>
              <c:f>Sheet1!$C$2:$C$4</c:f>
              <c:numCache>
                <c:formatCode>General</c:formatCode>
                <c:ptCount val="3"/>
                <c:pt idx="0">
                  <c:v>94.0</c:v>
                </c:pt>
                <c:pt idx="1">
                  <c:v>194.8715</c:v>
                </c:pt>
                <c:pt idx="2">
                  <c:v>303.95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90ML</c:v>
                </c:pt>
                <c:pt idx="1">
                  <c:v>120ML</c:v>
                </c:pt>
                <c:pt idx="2">
                  <c:v>240ML</c:v>
                </c:pt>
              </c:strCache>
            </c:strRef>
          </c:cat>
          <c:val>
            <c:numRef>
              <c:f>Sheet1!$D$2:$D$4</c:f>
              <c:numCache>
                <c:formatCode>General</c:formatCode>
                <c:ptCount val="3"/>
                <c:pt idx="0">
                  <c:v>113.98458750000002</c:v>
                </c:pt>
                <c:pt idx="1">
                  <c:v>151.97945</c:v>
                </c:pt>
                <c:pt idx="2">
                  <c:v>303.95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90ML</c:v>
                </c:pt>
                <c:pt idx="1">
                  <c:v>120ML</c:v>
                </c:pt>
                <c:pt idx="2">
                  <c:v>240ML</c:v>
                </c:pt>
              </c:strCache>
            </c:strRef>
          </c:cat>
          <c:val>
            <c:numRef>
              <c:f>Sheet1!$E$2:$E$4</c:f>
              <c:numCache>
                <c:formatCode>General</c:formatCode>
                <c:ptCount val="3"/>
                <c:pt idx="0">
                  <c:v>103.99229375000002</c:v>
                </c:pt>
                <c:pt idx="1">
                  <c:v>173.425475</c:v>
                </c:pt>
                <c:pt idx="2">
                  <c:v>303.95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50ML</c:v>
                </c:pt>
                <c:pt idx="1">
                  <c:v>60ML</c:v>
                </c:pt>
                <c:pt idx="2">
                  <c:v>90ML</c:v>
                </c:pt>
                <c:pt idx="3">
                  <c:v>120ML</c:v>
                </c:pt>
                <c:pt idx="4">
                  <c:v>150ML</c:v>
                </c:pt>
                <c:pt idx="5">
                  <c:v>180ML</c:v>
                </c:pt>
                <c:pt idx="6">
                  <c:v>240ML</c:v>
                </c:pt>
              </c:strCache>
            </c:strRef>
          </c:cat>
          <c:val>
            <c:numRef>
              <c:f>Sheet1!$B$2:$B$8</c:f>
              <c:numCache>
                <c:formatCode>General</c:formatCode>
                <c:ptCount val="7"/>
                <c:pt idx="0">
                  <c:v>1.21672</c:v>
                </c:pt>
                <c:pt idx="1">
                  <c:v>6.17375</c:v>
                </c:pt>
                <c:pt idx="2">
                  <c:v>2.55588</c:v>
                </c:pt>
                <c:pt idx="3">
                  <c:v>1.01234</c:v>
                </c:pt>
                <c:pt idx="4">
                  <c:v>1.45239</c:v>
                </c:pt>
                <c:pt idx="5">
                  <c:v>10.01134</c:v>
                </c:pt>
                <c:pt idx="6">
                  <c:v>71.937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67.0</a:t>
                    </a:r>
                  </a:p>
                </c:rich>
              </c:tx>
              <c:dLblPos val="t"/>
              <c:showLegendKey val="0"/>
              <c:showVal val="1"/>
              <c:showCatName val="0"/>
              <c:showSerName val="0"/>
              <c:showPercent val="0"/>
              <c:showBubbleSize val="0"/>
            </c:dLbl>
            <c:dLbl>
              <c:idx val="1"/>
              <c:tx>
                <c:rich>
                  <a:bodyPr/>
                  <a:lstStyle/>
                  <a:p>
                    <a:r>
                      <a:t>97.59</a:t>
                    </a:r>
                  </a:p>
                </c:rich>
              </c:tx>
              <c:dLblPos val="t"/>
              <c:showLegendKey val="0"/>
              <c:showVal val="1"/>
              <c:showCatName val="0"/>
              <c:showSerName val="0"/>
              <c:showPercent val="0"/>
              <c:showBubbleSize val="0"/>
            </c:dLbl>
            <c:dLbl>
              <c:idx val="2"/>
              <c:tx>
                <c:rich>
                  <a:bodyPr/>
                  <a:lstStyle/>
                  <a:p>
                    <a:r>
                      <a:t>129.57</a:t>
                    </a:r>
                  </a:p>
                </c:rich>
              </c:tx>
              <c:dLblPos val="t"/>
              <c:showLegendKey val="0"/>
              <c:showVal val="1"/>
              <c:showCatName val="0"/>
              <c:showSerName val="0"/>
              <c:showPercent val="0"/>
              <c:showBubbleSize val="0"/>
            </c:dLbl>
            <c:dLbl>
              <c:idx val="3"/>
              <c:tx>
                <c:rich>
                  <a:bodyPr/>
                  <a:lstStyle/>
                  <a:p>
                    <a:r>
                      <a:t>129.31</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33.87</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358.51</a:t>
                    </a:r>
                  </a:p>
                </c:rich>
              </c:tx>
              <c:dLblPos val="t"/>
              <c:showLegendKey val="0"/>
              <c:showVal val="1"/>
              <c:showCatName val="0"/>
              <c:showSerName val="0"/>
              <c:showPercent val="0"/>
              <c:showBubbleSize val="0"/>
            </c:dLbl>
            <c:dLbl>
              <c:idx val="6"/>
              <c:tx>
                <c:rich>
                  <a:bodyPr/>
                  <a:lstStyle/>
                  <a:p>
                    <a:r>
                      <a:t>318.05</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C$2:$C$8</c:f>
              <c:numCache>
                <c:formatCode>General</c:formatCode>
                <c:ptCount val="7"/>
                <c:pt idx="0">
                  <c:v>367.0</c:v>
                </c:pt>
                <c:pt idx="1">
                  <c:v>97.5893</c:v>
                </c:pt>
                <c:pt idx="2">
                  <c:v>129.5713</c:v>
                </c:pt>
                <c:pt idx="3">
                  <c:v>129.3068</c:v>
                </c:pt>
                <c:pt idx="4">
                  <c:v>233.874</c:v>
                </c:pt>
                <c:pt idx="5">
                  <c:v>358.5109</c:v>
                </c:pt>
                <c:pt idx="6">
                  <c:v>318.048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8</c:f>
              <c:strCache>
                <c:ptCount val="7"/>
                <c:pt idx="0">
                  <c:v>50ML</c:v>
                </c:pt>
                <c:pt idx="1">
                  <c:v>60ML</c:v>
                </c:pt>
                <c:pt idx="2">
                  <c:v>90ML</c:v>
                </c:pt>
                <c:pt idx="3">
                  <c:v>120ML</c:v>
                </c:pt>
                <c:pt idx="4">
                  <c:v>150ML</c:v>
                </c:pt>
                <c:pt idx="5">
                  <c:v>180ML</c:v>
                </c:pt>
                <c:pt idx="6">
                  <c:v>240ML</c:v>
                </c:pt>
              </c:strCache>
            </c:strRef>
          </c:cat>
          <c:val>
            <c:numRef>
              <c:f>Sheet1!$D$2:$D$8</c:f>
              <c:numCache>
                <c:formatCode>General</c:formatCode>
                <c:ptCount val="7"/>
                <c:pt idx="0">
                  <c:v>66.26002083333333</c:v>
                </c:pt>
                <c:pt idx="1">
                  <c:v>79.512025</c:v>
                </c:pt>
                <c:pt idx="2">
                  <c:v>119.2680375</c:v>
                </c:pt>
                <c:pt idx="3">
                  <c:v>159.02405</c:v>
                </c:pt>
                <c:pt idx="4">
                  <c:v>198.78006249999999</c:v>
                </c:pt>
                <c:pt idx="5">
                  <c:v>238.536075</c:v>
                </c:pt>
                <c:pt idx="6">
                  <c:v>318.048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1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5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E$2:$E$8</c:f>
              <c:numCache>
                <c:formatCode>General</c:formatCode>
                <c:ptCount val="7"/>
                <c:pt idx="0">
                  <c:v>216.63001041666666</c:v>
                </c:pt>
                <c:pt idx="1">
                  <c:v>88.55066249999999</c:v>
                </c:pt>
                <c:pt idx="2">
                  <c:v>124.41966875</c:v>
                </c:pt>
                <c:pt idx="3">
                  <c:v>144.165425</c:v>
                </c:pt>
                <c:pt idx="4">
                  <c:v>216.32703125</c:v>
                </c:pt>
                <c:pt idx="5">
                  <c:v>298.5234875</c:v>
                </c:pt>
                <c:pt idx="6">
                  <c:v>318.048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100ML</c:v>
                </c:pt>
                <c:pt idx="1">
                  <c:v>150ML</c:v>
                </c:pt>
                <c:pt idx="2">
                  <c:v>177ML</c:v>
                </c:pt>
                <c:pt idx="3">
                  <c:v>180ML</c:v>
                </c:pt>
                <c:pt idx="4">
                  <c:v>220ML</c:v>
                </c:pt>
              </c:strCache>
            </c:strRef>
          </c:cat>
          <c:val>
            <c:numRef>
              <c:f>Sheet1!$B$2:$B$6</c:f>
              <c:numCache>
                <c:formatCode>General</c:formatCode>
                <c:ptCount val="5"/>
                <c:pt idx="0">
                  <c:v>1.68012</c:v>
                </c:pt>
                <c:pt idx="1">
                  <c:v>4.63548</c:v>
                </c:pt>
                <c:pt idx="2">
                  <c:v>5.29649</c:v>
                </c:pt>
                <c:pt idx="3">
                  <c:v>16.54214</c:v>
                </c:pt>
                <c:pt idx="4">
                  <c:v>9.54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66.98</a:t>
                    </a:r>
                  </a:p>
                </c:rich>
              </c:tx>
              <c:dLblPos val="t"/>
              <c:showLegendKey val="0"/>
              <c:showVal val="1"/>
              <c:showCatName val="0"/>
              <c:showSerName val="0"/>
              <c:showPercent val="0"/>
              <c:showBubbleSize val="0"/>
            </c:dLbl>
            <c:dLbl>
              <c:idx val="1"/>
              <c:tx>
                <c:rich>
                  <a:bodyPr/>
                  <a:lstStyle/>
                  <a:p>
                    <a:r>
                      <a:t>272.33</a:t>
                    </a:r>
                  </a:p>
                </c:rich>
              </c:tx>
              <c:dLblPos val="t"/>
              <c:showLegendKey val="0"/>
              <c:showVal val="1"/>
              <c:showCatName val="0"/>
              <c:showSerName val="0"/>
              <c:showPercent val="0"/>
              <c:showBubbleSize val="0"/>
            </c:dLbl>
            <c:dLbl>
              <c:idx val="2"/>
              <c:tx>
                <c:rich>
                  <a:bodyPr/>
                  <a:lstStyle/>
                  <a:p>
                    <a:r>
                      <a:t>252.72</a:t>
                    </a:r>
                  </a:p>
                </c:rich>
              </c:tx>
              <c:dLblPos val="t"/>
              <c:showLegendKey val="0"/>
              <c:showVal val="1"/>
              <c:showCatName val="0"/>
              <c:showSerName val="0"/>
              <c:showPercent val="0"/>
              <c:showBubbleSize val="0"/>
            </c:dLbl>
            <c:dLbl>
              <c:idx val="3"/>
              <c:tx>
                <c:rich>
                  <a:bodyPr/>
                  <a:lstStyle/>
                  <a:p>
                    <a:r>
                      <a:t>306.48</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313.71</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100ML</c:v>
                </c:pt>
                <c:pt idx="1">
                  <c:v>150ML</c:v>
                </c:pt>
                <c:pt idx="2">
                  <c:v>177ML</c:v>
                </c:pt>
                <c:pt idx="3">
                  <c:v>180ML</c:v>
                </c:pt>
                <c:pt idx="4">
                  <c:v>220ML</c:v>
                </c:pt>
              </c:strCache>
            </c:strRef>
          </c:cat>
          <c:val>
            <c:numRef>
              <c:f>Sheet1!$C$2:$C$6</c:f>
              <c:numCache>
                <c:formatCode>General</c:formatCode>
                <c:ptCount val="5"/>
                <c:pt idx="0">
                  <c:v>366.9762</c:v>
                </c:pt>
                <c:pt idx="1">
                  <c:v>272.3261</c:v>
                </c:pt>
                <c:pt idx="2">
                  <c:v>252.7216</c:v>
                </c:pt>
                <c:pt idx="3">
                  <c:v>306.4804</c:v>
                </c:pt>
                <c:pt idx="4">
                  <c:v>313.71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100ML</c:v>
                </c:pt>
                <c:pt idx="1">
                  <c:v>150ML</c:v>
                </c:pt>
                <c:pt idx="2">
                  <c:v>177ML</c:v>
                </c:pt>
                <c:pt idx="3">
                  <c:v>180ML</c:v>
                </c:pt>
                <c:pt idx="4">
                  <c:v>220ML</c:v>
                </c:pt>
              </c:strCache>
            </c:strRef>
          </c:cat>
          <c:val>
            <c:numRef>
              <c:f>Sheet1!$D$2:$D$6</c:f>
              <c:numCache>
                <c:formatCode>General</c:formatCode>
                <c:ptCount val="5"/>
                <c:pt idx="0">
                  <c:v>170.26688888888887</c:v>
                </c:pt>
                <c:pt idx="1">
                  <c:v>255.40033333333332</c:v>
                </c:pt>
                <c:pt idx="2">
                  <c:v>301.3723933333333</c:v>
                </c:pt>
                <c:pt idx="3">
                  <c:v>306.4804</c:v>
                </c:pt>
                <c:pt idx="4">
                  <c:v>374.587155555555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100ML</c:v>
                </c:pt>
                <c:pt idx="1">
                  <c:v>150ML</c:v>
                </c:pt>
                <c:pt idx="2">
                  <c:v>177ML</c:v>
                </c:pt>
                <c:pt idx="3">
                  <c:v>180ML</c:v>
                </c:pt>
                <c:pt idx="4">
                  <c:v>220ML</c:v>
                </c:pt>
              </c:strCache>
            </c:strRef>
          </c:cat>
          <c:val>
            <c:numRef>
              <c:f>Sheet1!$E$2:$E$6</c:f>
              <c:numCache>
                <c:formatCode>General</c:formatCode>
                <c:ptCount val="5"/>
                <c:pt idx="0">
                  <c:v>268.62154444444445</c:v>
                </c:pt>
                <c:pt idx="1">
                  <c:v>263.86321666666663</c:v>
                </c:pt>
                <c:pt idx="2">
                  <c:v>277.04699666666664</c:v>
                </c:pt>
                <c:pt idx="3">
                  <c:v>306.4804</c:v>
                </c:pt>
                <c:pt idx="4">
                  <c:v>344.15002777777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5.90825</c:v>
                </c:pt>
                <c:pt idx="1">
                  <c:v>32.940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0.72</a:t>
                    </a:r>
                  </a:p>
                </c:rich>
              </c:tx>
              <c:dLblPos val="t"/>
              <c:showLegendKey val="0"/>
              <c:showVal val="1"/>
              <c:showCatName val="0"/>
              <c:showSerName val="0"/>
              <c:showPercent val="0"/>
              <c:showBubbleSize val="0"/>
            </c:dLbl>
            <c:dLbl>
              <c:idx val="1"/>
              <c:tx>
                <c:rich>
                  <a:bodyPr/>
                  <a:lstStyle/>
                  <a:p>
                    <a:r>
                      <a:t>330.0</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80.7246</c:v>
                </c:pt>
                <c:pt idx="1">
                  <c:v>329.996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82.49915</c:v>
                </c:pt>
                <c:pt idx="1">
                  <c:v>329.996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1.611875</c:v>
                </c:pt>
                <c:pt idx="1">
                  <c:v>329.99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90ML</c:v>
                </c:pt>
                <c:pt idx="1">
                  <c:v>120ML</c:v>
                </c:pt>
                <c:pt idx="2">
                  <c:v>240ML</c:v>
                </c:pt>
              </c:strCache>
            </c:strRef>
          </c:cat>
          <c:val>
            <c:numRef>
              <c:f>Sheet1!$B$2:$B$4</c:f>
              <c:numCache>
                <c:formatCode>General</c:formatCode>
                <c:ptCount val="3"/>
                <c:pt idx="0">
                  <c:v>0.01891</c:v>
                </c:pt>
                <c:pt idx="1">
                  <c:v>58.97682</c:v>
                </c:pt>
                <c:pt idx="2">
                  <c:v>292.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4.0</a:t>
                    </a:r>
                  </a:p>
                </c:rich>
              </c:tx>
              <c:dLblPos val="t"/>
              <c:showLegendKey val="0"/>
              <c:showVal val="1"/>
              <c:showCatName val="0"/>
              <c:showSerName val="0"/>
              <c:showPercent val="0"/>
              <c:showBubbleSize val="0"/>
            </c:dLbl>
            <c:dLbl>
              <c:idx val="1"/>
              <c:tx>
                <c:rich>
                  <a:bodyPr/>
                  <a:lstStyle/>
                  <a:p>
                    <a:r>
                      <a:t>188.94</a:t>
                    </a:r>
                  </a:p>
                </c:rich>
              </c:tx>
              <c:dLblPos val="t"/>
              <c:showLegendKey val="0"/>
              <c:showVal val="1"/>
              <c:showCatName val="0"/>
              <c:showSerName val="0"/>
              <c:showPercent val="0"/>
              <c:showBubbleSize val="0"/>
            </c:dLbl>
            <c:dLbl>
              <c:idx val="2"/>
              <c:tx>
                <c:rich>
                  <a:bodyPr/>
                  <a:lstStyle/>
                  <a:p>
                    <a:r>
                      <a:t>301.2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90ML</c:v>
                </c:pt>
                <c:pt idx="1">
                  <c:v>120ML</c:v>
                </c:pt>
                <c:pt idx="2">
                  <c:v>240ML</c:v>
                </c:pt>
              </c:strCache>
            </c:strRef>
          </c:cat>
          <c:val>
            <c:numRef>
              <c:f>Sheet1!$C$2:$C$4</c:f>
              <c:numCache>
                <c:formatCode>General</c:formatCode>
                <c:ptCount val="3"/>
                <c:pt idx="0">
                  <c:v>94.0</c:v>
                </c:pt>
                <c:pt idx="1">
                  <c:v>188.9353</c:v>
                </c:pt>
                <c:pt idx="2">
                  <c:v>301.214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90ML</c:v>
                </c:pt>
                <c:pt idx="1">
                  <c:v>120ML</c:v>
                </c:pt>
                <c:pt idx="2">
                  <c:v>240ML</c:v>
                </c:pt>
              </c:strCache>
            </c:strRef>
          </c:cat>
          <c:val>
            <c:numRef>
              <c:f>Sheet1!$D$2:$D$4</c:f>
              <c:numCache>
                <c:formatCode>General</c:formatCode>
                <c:ptCount val="3"/>
                <c:pt idx="0">
                  <c:v>112.95547500000002</c:v>
                </c:pt>
                <c:pt idx="1">
                  <c:v>150.6073</c:v>
                </c:pt>
                <c:pt idx="2">
                  <c:v>301.214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90ML</c:v>
                </c:pt>
                <c:pt idx="1">
                  <c:v>120ML</c:v>
                </c:pt>
                <c:pt idx="2">
                  <c:v>240ML</c:v>
                </c:pt>
              </c:strCache>
            </c:strRef>
          </c:cat>
          <c:val>
            <c:numRef>
              <c:f>Sheet1!$E$2:$E$4</c:f>
              <c:numCache>
                <c:formatCode>General</c:formatCode>
                <c:ptCount val="3"/>
                <c:pt idx="0">
                  <c:v>103.47773750000002</c:v>
                </c:pt>
                <c:pt idx="1">
                  <c:v>169.7713</c:v>
                </c:pt>
                <c:pt idx="2">
                  <c:v>301.214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8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c:rich>
              </c:tx>
              <c:showLegendKey val="0"/>
              <c:showVal val="1"/>
              <c:showCatName val="0"/>
              <c:showSerName val="0"/>
              <c:showPercent val="0"/>
              <c:showBubbleSize val="0"/>
            </c:dLbl>
            <c:dLbl>
              <c:idx val="6"/>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50ML</c:v>
                </c:pt>
                <c:pt idx="1">
                  <c:v>60ML</c:v>
                </c:pt>
                <c:pt idx="2">
                  <c:v>90ML</c:v>
                </c:pt>
                <c:pt idx="3">
                  <c:v>120ML</c:v>
                </c:pt>
                <c:pt idx="4">
                  <c:v>150ML</c:v>
                </c:pt>
                <c:pt idx="5">
                  <c:v>180ML</c:v>
                </c:pt>
                <c:pt idx="6">
                  <c:v>240ML</c:v>
                </c:pt>
              </c:strCache>
            </c:strRef>
          </c:cat>
          <c:val>
            <c:numRef>
              <c:f>Sheet1!$B$2:$B$8</c:f>
              <c:numCache>
                <c:formatCode>General</c:formatCode>
                <c:ptCount val="7"/>
                <c:pt idx="0">
                  <c:v>5.21673</c:v>
                </c:pt>
                <c:pt idx="1">
                  <c:v>21.1468</c:v>
                </c:pt>
                <c:pt idx="2">
                  <c:v>53.47029</c:v>
                </c:pt>
                <c:pt idx="3">
                  <c:v>26.77669</c:v>
                </c:pt>
                <c:pt idx="4">
                  <c:v>1.45853</c:v>
                </c:pt>
                <c:pt idx="5">
                  <c:v>59.81873</c:v>
                </c:pt>
                <c:pt idx="6">
                  <c:v>230.172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4.44</a:t>
                    </a:r>
                  </a:p>
                </c:rich>
              </c:tx>
              <c:dLblPos val="t"/>
              <c:showLegendKey val="0"/>
              <c:showVal val="1"/>
              <c:showCatName val="0"/>
              <c:showSerName val="0"/>
              <c:showPercent val="0"/>
              <c:showBubbleSize val="0"/>
            </c:dLbl>
            <c:dLbl>
              <c:idx val="1"/>
              <c:tx>
                <c:rich>
                  <a:bodyPr/>
                  <a:lstStyle/>
                  <a:p>
                    <a:r>
                      <a:t>115.3</a:t>
                    </a:r>
                  </a:p>
                </c:rich>
              </c:tx>
              <c:dLblPos val="t"/>
              <c:showLegendKey val="0"/>
              <c:showVal val="1"/>
              <c:showCatName val="0"/>
              <c:showSerName val="0"/>
              <c:showPercent val="0"/>
              <c:showBubbleSize val="0"/>
            </c:dLbl>
            <c:dLbl>
              <c:idx val="2"/>
              <c:tx>
                <c:rich>
                  <a:bodyPr/>
                  <a:lstStyle/>
                  <a:p>
                    <a:r>
                      <a:t>101.93</a:t>
                    </a:r>
                  </a:p>
                </c:rich>
              </c:tx>
              <c:dLblPos val="t"/>
              <c:showLegendKey val="0"/>
              <c:showVal val="1"/>
              <c:showCatName val="0"/>
              <c:showSerName val="0"/>
              <c:showPercent val="0"/>
              <c:showBubbleSize val="0"/>
            </c:dLbl>
            <c:dLbl>
              <c:idx val="3"/>
              <c:tx>
                <c:rich>
                  <a:bodyPr/>
                  <a:lstStyle/>
                  <a:p>
                    <a:r>
                      <a:t>189.58</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32.59</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295.36</a:t>
                    </a:r>
                  </a:p>
                </c:rich>
              </c:tx>
              <c:dLblPos val="t"/>
              <c:showLegendKey val="0"/>
              <c:showVal val="1"/>
              <c:showCatName val="0"/>
              <c:showSerName val="0"/>
              <c:showPercent val="0"/>
              <c:showBubbleSize val="0"/>
            </c:dLbl>
            <c:dLbl>
              <c:idx val="6"/>
              <c:tx>
                <c:rich>
                  <a:bodyPr/>
                  <a:lstStyle/>
                  <a:p>
                    <a:r>
                      <a:t>299.83</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C$2:$C$8</c:f>
              <c:numCache>
                <c:formatCode>General</c:formatCode>
                <c:ptCount val="7"/>
                <c:pt idx="0">
                  <c:v>284.4386</c:v>
                </c:pt>
                <c:pt idx="1">
                  <c:v>115.2977</c:v>
                </c:pt>
                <c:pt idx="2">
                  <c:v>101.9324</c:v>
                </c:pt>
                <c:pt idx="3">
                  <c:v>189.579</c:v>
                </c:pt>
                <c:pt idx="4">
                  <c:v>232.5881</c:v>
                </c:pt>
                <c:pt idx="5">
                  <c:v>295.3592</c:v>
                </c:pt>
                <c:pt idx="6">
                  <c:v>299.830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8</c:f>
              <c:strCache>
                <c:ptCount val="7"/>
                <c:pt idx="0">
                  <c:v>50ML</c:v>
                </c:pt>
                <c:pt idx="1">
                  <c:v>60ML</c:v>
                </c:pt>
                <c:pt idx="2">
                  <c:v>90ML</c:v>
                </c:pt>
                <c:pt idx="3">
                  <c:v>120ML</c:v>
                </c:pt>
                <c:pt idx="4">
                  <c:v>150ML</c:v>
                </c:pt>
                <c:pt idx="5">
                  <c:v>180ML</c:v>
                </c:pt>
                <c:pt idx="6">
                  <c:v>240ML</c:v>
                </c:pt>
              </c:strCache>
            </c:strRef>
          </c:cat>
          <c:val>
            <c:numRef>
              <c:f>Sheet1!$D$2:$D$8</c:f>
              <c:numCache>
                <c:formatCode>General</c:formatCode>
                <c:ptCount val="7"/>
                <c:pt idx="0">
                  <c:v>62.46460416666667</c:v>
                </c:pt>
                <c:pt idx="1">
                  <c:v>74.957525</c:v>
                </c:pt>
                <c:pt idx="2">
                  <c:v>112.4362875</c:v>
                </c:pt>
                <c:pt idx="3">
                  <c:v>149.91505</c:v>
                </c:pt>
                <c:pt idx="4">
                  <c:v>187.39381250000002</c:v>
                </c:pt>
                <c:pt idx="5">
                  <c:v>224.872575</c:v>
                </c:pt>
                <c:pt idx="6">
                  <c:v>299.83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5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3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8</c:f>
              <c:strCache>
                <c:ptCount val="7"/>
                <c:pt idx="0">
                  <c:v>50ML</c:v>
                </c:pt>
                <c:pt idx="1">
                  <c:v>60ML</c:v>
                </c:pt>
                <c:pt idx="2">
                  <c:v>90ML</c:v>
                </c:pt>
                <c:pt idx="3">
                  <c:v>120ML</c:v>
                </c:pt>
                <c:pt idx="4">
                  <c:v>150ML</c:v>
                </c:pt>
                <c:pt idx="5">
                  <c:v>180ML</c:v>
                </c:pt>
                <c:pt idx="6">
                  <c:v>240ML</c:v>
                </c:pt>
              </c:strCache>
            </c:strRef>
          </c:cat>
          <c:val>
            <c:numRef>
              <c:f>Sheet1!$E$2:$E$8</c:f>
              <c:numCache>
                <c:formatCode>General</c:formatCode>
                <c:ptCount val="7"/>
                <c:pt idx="0">
                  <c:v>173.45160208333334</c:v>
                </c:pt>
                <c:pt idx="1">
                  <c:v>95.1276125</c:v>
                </c:pt>
                <c:pt idx="2">
                  <c:v>107.18434375000001</c:v>
                </c:pt>
                <c:pt idx="3">
                  <c:v>169.747025</c:v>
                </c:pt>
                <c:pt idx="4">
                  <c:v>209.99095625</c:v>
                </c:pt>
                <c:pt idx="5">
                  <c:v>260.1158875</c:v>
                </c:pt>
                <c:pt idx="6">
                  <c:v>299.830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6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7.37007</c:v>
                </c:pt>
                <c:pt idx="1">
                  <c:v>4.702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7.67</a:t>
                    </a:r>
                  </a:p>
                </c:rich>
              </c:tx>
              <c:dLblPos val="t"/>
              <c:showLegendKey val="0"/>
              <c:showVal val="1"/>
              <c:showCatName val="0"/>
              <c:showSerName val="0"/>
              <c:showPercent val="0"/>
              <c:showBubbleSize val="0"/>
            </c:dLbl>
            <c:dLbl>
              <c:idx val="1"/>
              <c:tx>
                <c:rich>
                  <a:bodyPr/>
                  <a:lstStyle/>
                  <a:p>
                    <a:r>
                      <a:t>339.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17.6667</c:v>
                </c:pt>
                <c:pt idx="1">
                  <c:v>339.891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317.6667</c:v>
                </c:pt>
                <c:pt idx="1">
                  <c:v>416.49634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317.6667</c:v>
                </c:pt>
                <c:pt idx="1">
                  <c:v>378.19392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100ML</c:v>
                </c:pt>
                <c:pt idx="1">
                  <c:v>150ML</c:v>
                </c:pt>
                <c:pt idx="2">
                  <c:v>177ML</c:v>
                </c:pt>
                <c:pt idx="3">
                  <c:v>180ML</c:v>
                </c:pt>
                <c:pt idx="4">
                  <c:v>220ML</c:v>
                </c:pt>
              </c:strCache>
            </c:strRef>
          </c:cat>
          <c:val>
            <c:numRef>
              <c:f>Sheet1!$B$2:$B$6</c:f>
              <c:numCache>
                <c:formatCode>General</c:formatCode>
                <c:ptCount val="5"/>
                <c:pt idx="0">
                  <c:v>5.10985</c:v>
                </c:pt>
                <c:pt idx="1">
                  <c:v>7.09989</c:v>
                </c:pt>
                <c:pt idx="2">
                  <c:v>5.30129</c:v>
                </c:pt>
                <c:pt idx="3">
                  <c:v>89.9414</c:v>
                </c:pt>
                <c:pt idx="4">
                  <c:v>29.0655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25.83</a:t>
                    </a:r>
                  </a:p>
                </c:rich>
              </c:tx>
              <c:dLblPos val="t"/>
              <c:showLegendKey val="0"/>
              <c:showVal val="1"/>
              <c:showCatName val="0"/>
              <c:showSerName val="0"/>
              <c:showPercent val="0"/>
              <c:showBubbleSize val="0"/>
            </c:dLbl>
            <c:dLbl>
              <c:idx val="1"/>
              <c:tx>
                <c:rich>
                  <a:bodyPr/>
                  <a:lstStyle/>
                  <a:p>
                    <a:r>
                      <a:t>278.64</a:t>
                    </a:r>
                  </a:p>
                </c:rich>
              </c:tx>
              <c:dLblPos val="t"/>
              <c:showLegendKey val="0"/>
              <c:showVal val="1"/>
              <c:showCatName val="0"/>
              <c:showSerName val="0"/>
              <c:showPercent val="0"/>
              <c:showBubbleSize val="0"/>
            </c:dLbl>
            <c:dLbl>
              <c:idx val="2"/>
              <c:tx>
                <c:rich>
                  <a:bodyPr/>
                  <a:lstStyle/>
                  <a:p>
                    <a:r>
                      <a:t>253.07</a:t>
                    </a:r>
                  </a:p>
                </c:rich>
              </c:tx>
              <c:dLblPos val="t"/>
              <c:showLegendKey val="0"/>
              <c:showVal val="1"/>
              <c:showCatName val="0"/>
              <c:showSerName val="0"/>
              <c:showPercent val="0"/>
              <c:showBubbleSize val="0"/>
            </c:dLbl>
            <c:dLbl>
              <c:idx val="3"/>
              <c:tx>
                <c:rich>
                  <a:bodyPr/>
                  <a:lstStyle/>
                  <a:p>
                    <a:r>
                      <a:t>311.06</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92.64</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100ML</c:v>
                </c:pt>
                <c:pt idx="1">
                  <c:v>150ML</c:v>
                </c:pt>
                <c:pt idx="2">
                  <c:v>177ML</c:v>
                </c:pt>
                <c:pt idx="3">
                  <c:v>180ML</c:v>
                </c:pt>
                <c:pt idx="4">
                  <c:v>220ML</c:v>
                </c:pt>
              </c:strCache>
            </c:strRef>
          </c:cat>
          <c:val>
            <c:numRef>
              <c:f>Sheet1!$C$2:$C$6</c:f>
              <c:numCache>
                <c:formatCode>General</c:formatCode>
                <c:ptCount val="5"/>
                <c:pt idx="0">
                  <c:v>325.8275</c:v>
                </c:pt>
                <c:pt idx="1">
                  <c:v>278.6412</c:v>
                </c:pt>
                <c:pt idx="2">
                  <c:v>253.0656</c:v>
                </c:pt>
                <c:pt idx="3">
                  <c:v>311.0574</c:v>
                </c:pt>
                <c:pt idx="4">
                  <c:v>292.641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100ML</c:v>
                </c:pt>
                <c:pt idx="1">
                  <c:v>150ML</c:v>
                </c:pt>
                <c:pt idx="2">
                  <c:v>177ML</c:v>
                </c:pt>
                <c:pt idx="3">
                  <c:v>180ML</c:v>
                </c:pt>
                <c:pt idx="4">
                  <c:v>220ML</c:v>
                </c:pt>
              </c:strCache>
            </c:strRef>
          </c:cat>
          <c:val>
            <c:numRef>
              <c:f>Sheet1!$D$2:$D$6</c:f>
              <c:numCache>
                <c:formatCode>General</c:formatCode>
                <c:ptCount val="5"/>
                <c:pt idx="0">
                  <c:v>172.80966666666666</c:v>
                </c:pt>
                <c:pt idx="1">
                  <c:v>259.2145</c:v>
                </c:pt>
                <c:pt idx="2">
                  <c:v>305.87311</c:v>
                </c:pt>
                <c:pt idx="3">
                  <c:v>311.0574</c:v>
                </c:pt>
                <c:pt idx="4">
                  <c:v>380.1812666666666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100ML</c:v>
                </c:pt>
                <c:pt idx="1">
                  <c:v>150ML</c:v>
                </c:pt>
                <c:pt idx="2">
                  <c:v>177ML</c:v>
                </c:pt>
                <c:pt idx="3">
                  <c:v>180ML</c:v>
                </c:pt>
                <c:pt idx="4">
                  <c:v>220ML</c:v>
                </c:pt>
              </c:strCache>
            </c:strRef>
          </c:cat>
          <c:val>
            <c:numRef>
              <c:f>Sheet1!$E$2:$E$6</c:f>
              <c:numCache>
                <c:formatCode>General</c:formatCode>
                <c:ptCount val="5"/>
                <c:pt idx="0">
                  <c:v>249.31858333333332</c:v>
                </c:pt>
                <c:pt idx="1">
                  <c:v>268.92785000000003</c:v>
                </c:pt>
                <c:pt idx="2">
                  <c:v>279.469355</c:v>
                </c:pt>
                <c:pt idx="3">
                  <c:v>311.0574</c:v>
                </c:pt>
                <c:pt idx="4">
                  <c:v>336.4113333333333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7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32.36489</c:v>
                </c:pt>
                <c:pt idx="1">
                  <c:v>133.7967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6.25</a:t>
                    </a:r>
                  </a:p>
                </c:rich>
              </c:tx>
              <c:dLblPos val="t"/>
              <c:showLegendKey val="0"/>
              <c:showVal val="1"/>
              <c:showCatName val="0"/>
              <c:showSerName val="0"/>
              <c:showPercent val="0"/>
              <c:showBubbleSize val="0"/>
            </c:dLbl>
            <c:dLbl>
              <c:idx val="1"/>
              <c:tx>
                <c:rich>
                  <a:bodyPr/>
                  <a:lstStyle/>
                  <a:p>
                    <a:r>
                      <a:t>305.1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86.2496</c:v>
                </c:pt>
                <c:pt idx="1">
                  <c:v>305.151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76.28795</c:v>
                </c:pt>
                <c:pt idx="1">
                  <c:v>305.151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1.268775</c:v>
                </c:pt>
                <c:pt idx="1">
                  <c:v>305.151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6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50ML</c:v>
                </c:pt>
                <c:pt idx="1">
                  <c:v>100ML</c:v>
                </c:pt>
                <c:pt idx="2">
                  <c:v>180ML</c:v>
                </c:pt>
              </c:strCache>
            </c:strRef>
          </c:cat>
          <c:val>
            <c:numRef>
              <c:f>Sheet1!$B$2:$B$4</c:f>
              <c:numCache>
                <c:formatCode>General</c:formatCode>
                <c:ptCount val="3"/>
                <c:pt idx="0">
                  <c:v>30.00704</c:v>
                </c:pt>
                <c:pt idx="1">
                  <c:v>2.19995</c:v>
                </c:pt>
                <c:pt idx="2">
                  <c:v>0.0662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0.1</a:t>
                    </a:r>
                  </a:p>
                </c:rich>
              </c:tx>
              <c:dLblPos val="t"/>
              <c:showLegendKey val="0"/>
              <c:showVal val="1"/>
              <c:showCatName val="0"/>
              <c:showSerName val="0"/>
              <c:showPercent val="0"/>
              <c:showBubbleSize val="0"/>
            </c:dLbl>
            <c:dLbl>
              <c:idx val="1"/>
              <c:tx>
                <c:rich>
                  <a:bodyPr/>
                  <a:lstStyle/>
                  <a:p>
                    <a:r>
                      <a:t>238.78</a:t>
                    </a:r>
                  </a:p>
                </c:rich>
              </c:tx>
              <c:dLblPos val="t"/>
              <c:showLegendKey val="0"/>
              <c:showVal val="1"/>
              <c:showCatName val="0"/>
              <c:showSerName val="0"/>
              <c:showPercent val="0"/>
              <c:showBubbleSize val="0"/>
            </c:dLbl>
            <c:dLbl>
              <c:idx val="2"/>
              <c:tx>
                <c:rich>
                  <a:bodyPr/>
                  <a:lstStyle/>
                  <a:p>
                    <a:r>
                      <a:t>411.1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50ML</c:v>
                </c:pt>
                <c:pt idx="1">
                  <c:v>100ML</c:v>
                </c:pt>
                <c:pt idx="2">
                  <c:v>180ML</c:v>
                </c:pt>
              </c:strCache>
            </c:strRef>
          </c:cat>
          <c:val>
            <c:numRef>
              <c:f>Sheet1!$C$2:$C$4</c:f>
              <c:numCache>
                <c:formatCode>General</c:formatCode>
                <c:ptCount val="3"/>
                <c:pt idx="0">
                  <c:v>250.1019</c:v>
                </c:pt>
                <c:pt idx="1">
                  <c:v>238.7819</c:v>
                </c:pt>
                <c:pt idx="2">
                  <c:v>411.1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50ML</c:v>
                </c:pt>
                <c:pt idx="1">
                  <c:v>100ML</c:v>
                </c:pt>
                <c:pt idx="2">
                  <c:v>180ML</c:v>
                </c:pt>
              </c:strCache>
            </c:strRef>
          </c:cat>
          <c:val>
            <c:numRef>
              <c:f>Sheet1!$D$2:$D$4</c:f>
              <c:numCache>
                <c:formatCode>General</c:formatCode>
                <c:ptCount val="3"/>
                <c:pt idx="0">
                  <c:v>250.1019</c:v>
                </c:pt>
                <c:pt idx="1">
                  <c:v>500.2038</c:v>
                </c:pt>
                <c:pt idx="2">
                  <c:v>900.366839999999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50ML</c:v>
                </c:pt>
                <c:pt idx="1">
                  <c:v>100ML</c:v>
                </c:pt>
                <c:pt idx="2">
                  <c:v>180ML</c:v>
                </c:pt>
              </c:strCache>
            </c:strRef>
          </c:cat>
          <c:val>
            <c:numRef>
              <c:f>Sheet1!$E$2:$E$4</c:f>
              <c:numCache>
                <c:formatCode>General</c:formatCode>
                <c:ptCount val="3"/>
                <c:pt idx="0">
                  <c:v>250.1019</c:v>
                </c:pt>
                <c:pt idx="1">
                  <c:v>369.49285</c:v>
                </c:pt>
                <c:pt idx="2">
                  <c:v>655.7548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230ML</c:v>
                </c:pt>
                <c:pt idx="1">
                  <c:v>453ML</c:v>
                </c:pt>
                <c:pt idx="2">
                  <c:v>473ML</c:v>
                </c:pt>
              </c:strCache>
            </c:strRef>
          </c:cat>
          <c:val>
            <c:numRef>
              <c:f>Sheet1!$B$2:$B$4</c:f>
              <c:numCache>
                <c:formatCode>General</c:formatCode>
                <c:ptCount val="3"/>
                <c:pt idx="0">
                  <c:v>56.34087</c:v>
                </c:pt>
                <c:pt idx="1">
                  <c:v>0.5119</c:v>
                </c:pt>
                <c:pt idx="2">
                  <c:v>9.4915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49.69</a:t>
                    </a:r>
                  </a:p>
                </c:rich>
              </c:tx>
              <c:dLblPos val="t"/>
              <c:showLegendKey val="0"/>
              <c:showVal val="1"/>
              <c:showCatName val="0"/>
              <c:showSerName val="0"/>
              <c:showPercent val="0"/>
              <c:showBubbleSize val="0"/>
            </c:dLbl>
            <c:dLbl>
              <c:idx val="1"/>
              <c:tx>
                <c:rich>
                  <a:bodyPr/>
                  <a:lstStyle/>
                  <a:p>
                    <a:r>
                      <a:t>159.45</a:t>
                    </a:r>
                  </a:p>
                </c:rich>
              </c:tx>
              <c:dLblPos val="t"/>
              <c:showLegendKey val="0"/>
              <c:showVal val="1"/>
              <c:showCatName val="0"/>
              <c:showSerName val="0"/>
              <c:showPercent val="0"/>
              <c:showBubbleSize val="0"/>
            </c:dLbl>
            <c:dLbl>
              <c:idx val="2"/>
              <c:tx>
                <c:rich>
                  <a:bodyPr/>
                  <a:lstStyle/>
                  <a:p>
                    <a:r>
                      <a:t>161.1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30ML</c:v>
                </c:pt>
                <c:pt idx="1">
                  <c:v>453ML</c:v>
                </c:pt>
                <c:pt idx="2">
                  <c:v>473ML</c:v>
                </c:pt>
              </c:strCache>
            </c:strRef>
          </c:cat>
          <c:val>
            <c:numRef>
              <c:f>Sheet1!$C$2:$C$4</c:f>
              <c:numCache>
                <c:formatCode>General</c:formatCode>
                <c:ptCount val="3"/>
                <c:pt idx="0">
                  <c:v>149.6921</c:v>
                </c:pt>
                <c:pt idx="1">
                  <c:v>159.4537</c:v>
                </c:pt>
                <c:pt idx="2">
                  <c:v>161.166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230ML</c:v>
                </c:pt>
                <c:pt idx="1">
                  <c:v>453ML</c:v>
                </c:pt>
                <c:pt idx="2">
                  <c:v>473ML</c:v>
                </c:pt>
              </c:strCache>
            </c:strRef>
          </c:cat>
          <c:val>
            <c:numRef>
              <c:f>Sheet1!$D$2:$D$4</c:f>
              <c:numCache>
                <c:formatCode>General</c:formatCode>
                <c:ptCount val="3"/>
                <c:pt idx="0">
                  <c:v>149.6921</c:v>
                </c:pt>
                <c:pt idx="1">
                  <c:v>294.82835347826085</c:v>
                </c:pt>
                <c:pt idx="2">
                  <c:v>307.8450578260869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4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230ML</c:v>
                </c:pt>
                <c:pt idx="1">
                  <c:v>453ML</c:v>
                </c:pt>
                <c:pt idx="2">
                  <c:v>473ML</c:v>
                </c:pt>
              </c:strCache>
            </c:strRef>
          </c:cat>
          <c:val>
            <c:numRef>
              <c:f>Sheet1!$E$2:$E$4</c:f>
              <c:numCache>
                <c:formatCode>General</c:formatCode>
                <c:ptCount val="3"/>
                <c:pt idx="0">
                  <c:v>149.6921</c:v>
                </c:pt>
                <c:pt idx="1">
                  <c:v>227.14102673913044</c:v>
                </c:pt>
                <c:pt idx="2">
                  <c:v>234.5057789130434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1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00ML</c:v>
                </c:pt>
                <c:pt idx="1">
                  <c:v>350ML</c:v>
                </c:pt>
              </c:strCache>
            </c:strRef>
          </c:cat>
          <c:val>
            <c:numRef>
              <c:f>Sheet1!$B$2:$B$3</c:f>
              <c:numCache>
                <c:formatCode>General</c:formatCode>
                <c:ptCount val="2"/>
                <c:pt idx="0">
                  <c:v>1.10903</c:v>
                </c:pt>
                <c:pt idx="1">
                  <c:v>0.2765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77.69</a:t>
                    </a:r>
                  </a:p>
                </c:rich>
              </c:tx>
              <c:dLblPos val="t"/>
              <c:showLegendKey val="0"/>
              <c:showVal val="1"/>
              <c:showCatName val="0"/>
              <c:showSerName val="0"/>
              <c:showPercent val="0"/>
              <c:showBubbleSize val="0"/>
            </c:dLbl>
            <c:dLbl>
              <c:idx val="1"/>
              <c:tx>
                <c:rich>
                  <a:bodyPr/>
                  <a:lstStyle/>
                  <a:p>
                    <a:r>
                      <a:t>44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00ML</c:v>
                </c:pt>
                <c:pt idx="1">
                  <c:v>350ML</c:v>
                </c:pt>
              </c:strCache>
            </c:strRef>
          </c:cat>
          <c:val>
            <c:numRef>
              <c:f>Sheet1!$C$2:$C$3</c:f>
              <c:numCache>
                <c:formatCode>General</c:formatCode>
                <c:ptCount val="2"/>
                <c:pt idx="0">
                  <c:v>377.6904</c:v>
                </c:pt>
                <c:pt idx="1">
                  <c:v>444.841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00ML</c:v>
                </c:pt>
                <c:pt idx="1">
                  <c:v>350ML</c:v>
                </c:pt>
              </c:strCache>
            </c:strRef>
          </c:cat>
          <c:val>
            <c:numRef>
              <c:f>Sheet1!$D$2:$D$3</c:f>
              <c:numCache>
                <c:formatCode>General</c:formatCode>
                <c:ptCount val="2"/>
                <c:pt idx="0">
                  <c:v>377.6904</c:v>
                </c:pt>
                <c:pt idx="1">
                  <c:v>440.638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00ML</c:v>
                </c:pt>
                <c:pt idx="1">
                  <c:v>350ML</c:v>
                </c:pt>
              </c:strCache>
            </c:strRef>
          </c:cat>
          <c:val>
            <c:numRef>
              <c:f>Sheet1!$E$2:$E$3</c:f>
              <c:numCache>
                <c:formatCode>General</c:formatCode>
                <c:ptCount val="2"/>
                <c:pt idx="0">
                  <c:v>377.6904</c:v>
                </c:pt>
                <c:pt idx="1">
                  <c:v>442.74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20.27503</c:v>
                </c:pt>
                <c:pt idx="1">
                  <c:v>82.6391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79.67</a:t>
                    </a:r>
                  </a:p>
                </c:rich>
              </c:tx>
              <c:dLblPos val="t"/>
              <c:showLegendKey val="0"/>
              <c:showVal val="1"/>
              <c:showCatName val="0"/>
              <c:showSerName val="0"/>
              <c:showPercent val="0"/>
              <c:showBubbleSize val="0"/>
            </c:dLbl>
            <c:dLbl>
              <c:idx val="1"/>
              <c:tx>
                <c:rich>
                  <a:bodyPr/>
                  <a:lstStyle/>
                  <a:p>
                    <a:r>
                      <a:t>290.6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79.6737</c:v>
                </c:pt>
                <c:pt idx="1">
                  <c:v>290.675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21.70134745762712</c:v>
                </c:pt>
                <c:pt idx="1">
                  <c:v>290.675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50.68752372881357</c:v>
                </c:pt>
                <c:pt idx="1">
                  <c:v>290.675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6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20.48165</c:v>
                </c:pt>
                <c:pt idx="1">
                  <c:v>159.1683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1.72</a:t>
                    </a:r>
                  </a:p>
                </c:rich>
              </c:tx>
              <c:dLblPos val="t"/>
              <c:showLegendKey val="0"/>
              <c:showVal val="1"/>
              <c:showCatName val="0"/>
              <c:showSerName val="0"/>
              <c:showPercent val="0"/>
              <c:showBubbleSize val="0"/>
            </c:dLbl>
            <c:dLbl>
              <c:idx val="1"/>
              <c:tx>
                <c:rich>
                  <a:bodyPr/>
                  <a:lstStyle/>
                  <a:p>
                    <a:r>
                      <a:t>303.9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11.7187</c:v>
                </c:pt>
                <c:pt idx="1">
                  <c:v>303.98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31.85372881355931</c:v>
                </c:pt>
                <c:pt idx="1">
                  <c:v>303.98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71.78621440677966</c:v>
                </c:pt>
                <c:pt idx="1">
                  <c:v>303.9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1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46.8964</c:v>
                </c:pt>
                <c:pt idx="1">
                  <c:v>17.3666</c:v>
                </c:pt>
                <c:pt idx="2">
                  <c:v>68.4566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43</a:t>
                    </a:r>
                  </a:p>
                </c:rich>
              </c:tx>
              <c:dLblPos val="t"/>
              <c:showLegendKey val="0"/>
              <c:showVal val="1"/>
              <c:showCatName val="0"/>
              <c:showSerName val="0"/>
              <c:showPercent val="0"/>
              <c:showBubbleSize val="0"/>
            </c:dLbl>
            <c:dLbl>
              <c:idx val="1"/>
              <c:tx>
                <c:rich>
                  <a:bodyPr/>
                  <a:lstStyle/>
                  <a:p>
                    <a:r>
                      <a:t>254.54</a:t>
                    </a:r>
                  </a:p>
                </c:rich>
              </c:tx>
              <c:dLblPos val="t"/>
              <c:showLegendKey val="0"/>
              <c:showVal val="1"/>
              <c:showCatName val="0"/>
              <c:showSerName val="0"/>
              <c:showPercent val="0"/>
              <c:showBubbleSize val="0"/>
            </c:dLbl>
            <c:dLbl>
              <c:idx val="2"/>
              <c:tx>
                <c:rich>
                  <a:bodyPr/>
                  <a:lstStyle/>
                  <a:p>
                    <a:r>
                      <a:t>310.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88.4252</c:v>
                </c:pt>
                <c:pt idx="1">
                  <c:v>254.543</c:v>
                </c:pt>
                <c:pt idx="2">
                  <c:v>310.198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88.4252</c:v>
                </c:pt>
                <c:pt idx="1">
                  <c:v>265.2756</c:v>
                </c:pt>
                <c:pt idx="2">
                  <c:v>353.70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88.4252</c:v>
                </c:pt>
                <c:pt idx="1">
                  <c:v>259.90930000000003</c:v>
                </c:pt>
                <c:pt idx="2">
                  <c:v>331.9494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68.116</c:v>
                </c:pt>
                <c:pt idx="1">
                  <c:v>0.159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7.29</a:t>
                    </a:r>
                  </a:p>
                </c:rich>
              </c:tx>
              <c:dLblPos val="t"/>
              <c:showLegendKey val="0"/>
              <c:showVal val="1"/>
              <c:showCatName val="0"/>
              <c:showSerName val="0"/>
              <c:showPercent val="0"/>
              <c:showBubbleSize val="0"/>
            </c:dLbl>
            <c:dLbl>
              <c:idx val="1"/>
              <c:tx>
                <c:rich>
                  <a:bodyPr/>
                  <a:lstStyle/>
                  <a:p>
                    <a:r>
                      <a:t>268.1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317.2922</c:v>
                </c:pt>
                <c:pt idx="1">
                  <c:v>268.132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317.2922</c:v>
                </c:pt>
                <c:pt idx="1">
                  <c:v>335.956447058823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317.2922</c:v>
                </c:pt>
                <c:pt idx="1">
                  <c:v>302.044273529411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9.89177</c:v>
                </c:pt>
                <c:pt idx="1">
                  <c:v>77.5479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9.11</a:t>
                    </a:r>
                  </a:p>
                </c:rich>
              </c:tx>
              <c:dLblPos val="t"/>
              <c:showLegendKey val="0"/>
              <c:showVal val="1"/>
              <c:showCatName val="0"/>
              <c:showSerName val="0"/>
              <c:showPercent val="0"/>
              <c:showBubbleSize val="0"/>
            </c:dLbl>
            <c:dLbl>
              <c:idx val="1"/>
              <c:tx>
                <c:rich>
                  <a:bodyPr/>
                  <a:lstStyle/>
                  <a:p>
                    <a:r>
                      <a:t>316.0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289.1081</c:v>
                </c:pt>
                <c:pt idx="1">
                  <c:v>316.045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44.21682272727273</c:v>
                </c:pt>
                <c:pt idx="1">
                  <c:v>316.045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66.66246136363634</c:v>
                </c:pt>
                <c:pt idx="1">
                  <c:v>316.045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5.38139</c:v>
                </c:pt>
                <c:pt idx="1">
                  <c:v>63.4961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59.59</a:t>
                    </a:r>
                  </a:p>
                </c:rich>
              </c:tx>
              <c:dLblPos val="t"/>
              <c:showLegendKey val="0"/>
              <c:showVal val="1"/>
              <c:showCatName val="0"/>
              <c:showSerName val="0"/>
              <c:showPercent val="0"/>
              <c:showBubbleSize val="0"/>
            </c:dLbl>
            <c:dLbl>
              <c:idx val="1"/>
              <c:tx>
                <c:rich>
                  <a:bodyPr/>
                  <a:lstStyle/>
                  <a:p>
                    <a:r>
                      <a:t>348.8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59.5928</c:v>
                </c:pt>
                <c:pt idx="1">
                  <c:v>348.86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66.0798898305085</c:v>
                </c:pt>
                <c:pt idx="1">
                  <c:v>348.86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312.83634491525424</c:v>
                </c:pt>
                <c:pt idx="1">
                  <c:v>348.86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60ML</c:v>
                </c:pt>
                <c:pt idx="1">
                  <c:v>118ML</c:v>
                </c:pt>
                <c:pt idx="2">
                  <c:v>180ML</c:v>
                </c:pt>
                <c:pt idx="3">
                  <c:v>236ML</c:v>
                </c:pt>
                <c:pt idx="4">
                  <c:v>472ML</c:v>
                </c:pt>
              </c:strCache>
            </c:strRef>
          </c:cat>
          <c:val>
            <c:numRef>
              <c:f>Sheet1!$B$2:$B$6</c:f>
              <c:numCache>
                <c:formatCode>General</c:formatCode>
                <c:ptCount val="5"/>
                <c:pt idx="0">
                  <c:v>9.37545</c:v>
                </c:pt>
                <c:pt idx="1">
                  <c:v>4.01635</c:v>
                </c:pt>
                <c:pt idx="2">
                  <c:v>65.29409</c:v>
                </c:pt>
                <c:pt idx="3">
                  <c:v>60.90439</c:v>
                </c:pt>
                <c:pt idx="4">
                  <c:v>0.0118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8.16</a:t>
                    </a:r>
                  </a:p>
                </c:rich>
              </c:tx>
              <c:dLblPos val="t"/>
              <c:showLegendKey val="0"/>
              <c:showVal val="1"/>
              <c:showCatName val="0"/>
              <c:showSerName val="0"/>
              <c:showPercent val="0"/>
              <c:showBubbleSize val="0"/>
            </c:dLbl>
            <c:dLbl>
              <c:idx val="1"/>
              <c:tx>
                <c:rich>
                  <a:bodyPr/>
                  <a:lstStyle/>
                  <a:p>
                    <a:r>
                      <a:t>161.17</a:t>
                    </a:r>
                  </a:p>
                </c:rich>
              </c:tx>
              <c:dLblPos val="t"/>
              <c:showLegendKey val="0"/>
              <c:showVal val="1"/>
              <c:showCatName val="0"/>
              <c:showSerName val="0"/>
              <c:showPercent val="0"/>
              <c:showBubbleSize val="0"/>
            </c:dLbl>
            <c:dLbl>
              <c:idx val="2"/>
              <c:tx>
                <c:rich>
                  <a:bodyPr/>
                  <a:lstStyle/>
                  <a:p>
                    <a:r>
                      <a:t>332.29</a:t>
                    </a:r>
                  </a:p>
                </c:rich>
              </c:tx>
              <c:dLblPos val="t"/>
              <c:showLegendKey val="0"/>
              <c:showVal val="1"/>
              <c:showCatName val="0"/>
              <c:showSerName val="0"/>
              <c:showPercent val="0"/>
              <c:showBubbleSize val="0"/>
            </c:dLbl>
            <c:dLbl>
              <c:idx val="3"/>
              <c:tx>
                <c:rich>
                  <a:bodyPr/>
                  <a:lstStyle/>
                  <a:p>
                    <a:r>
                      <a:t>269.13</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223.5</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60ML</c:v>
                </c:pt>
                <c:pt idx="1">
                  <c:v>118ML</c:v>
                </c:pt>
                <c:pt idx="2">
                  <c:v>180ML</c:v>
                </c:pt>
                <c:pt idx="3">
                  <c:v>236ML</c:v>
                </c:pt>
                <c:pt idx="4">
                  <c:v>472ML</c:v>
                </c:pt>
              </c:strCache>
            </c:strRef>
          </c:cat>
          <c:val>
            <c:numRef>
              <c:f>Sheet1!$C$2:$C$6</c:f>
              <c:numCache>
                <c:formatCode>General</c:formatCode>
                <c:ptCount val="5"/>
                <c:pt idx="0">
                  <c:v>288.1616</c:v>
                </c:pt>
                <c:pt idx="1">
                  <c:v>161.1741</c:v>
                </c:pt>
                <c:pt idx="2">
                  <c:v>332.2902</c:v>
                </c:pt>
                <c:pt idx="3">
                  <c:v>269.1307</c:v>
                </c:pt>
                <c:pt idx="4">
                  <c:v>223.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60ML</c:v>
                </c:pt>
                <c:pt idx="1">
                  <c:v>118ML</c:v>
                </c:pt>
                <c:pt idx="2">
                  <c:v>180ML</c:v>
                </c:pt>
                <c:pt idx="3">
                  <c:v>236ML</c:v>
                </c:pt>
                <c:pt idx="4">
                  <c:v>472ML</c:v>
                </c:pt>
              </c:strCache>
            </c:strRef>
          </c:cat>
          <c:val>
            <c:numRef>
              <c:f>Sheet1!$D$2:$D$6</c:f>
              <c:numCache>
                <c:formatCode>General</c:formatCode>
                <c:ptCount val="5"/>
                <c:pt idx="0">
                  <c:v>68.4230593220339</c:v>
                </c:pt>
                <c:pt idx="1">
                  <c:v>134.56535</c:v>
                </c:pt>
                <c:pt idx="2">
                  <c:v>205.2691779661017</c:v>
                </c:pt>
                <c:pt idx="3">
                  <c:v>269.1307</c:v>
                </c:pt>
                <c:pt idx="4">
                  <c:v>538.261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6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5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60ML</c:v>
                </c:pt>
                <c:pt idx="1">
                  <c:v>118ML</c:v>
                </c:pt>
                <c:pt idx="2">
                  <c:v>180ML</c:v>
                </c:pt>
                <c:pt idx="3">
                  <c:v>236ML</c:v>
                </c:pt>
                <c:pt idx="4">
                  <c:v>472ML</c:v>
                </c:pt>
              </c:strCache>
            </c:strRef>
          </c:cat>
          <c:val>
            <c:numRef>
              <c:f>Sheet1!$E$2:$E$6</c:f>
              <c:numCache>
                <c:formatCode>General</c:formatCode>
                <c:ptCount val="5"/>
                <c:pt idx="0">
                  <c:v>178.29232966101696</c:v>
                </c:pt>
                <c:pt idx="1">
                  <c:v>147.86972500000002</c:v>
                </c:pt>
                <c:pt idx="2">
                  <c:v>268.77968898305085</c:v>
                </c:pt>
                <c:pt idx="3">
                  <c:v>269.1307</c:v>
                </c:pt>
                <c:pt idx="4">
                  <c:v>380.880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3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10.87433</c:v>
                </c:pt>
                <c:pt idx="1">
                  <c:v>26.529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81</a:t>
                    </a:r>
                  </a:p>
                </c:rich>
              </c:tx>
              <c:dLblPos val="t"/>
              <c:showLegendKey val="0"/>
              <c:showVal val="1"/>
              <c:showCatName val="0"/>
              <c:showSerName val="0"/>
              <c:showPercent val="0"/>
              <c:showBubbleSize val="0"/>
            </c:dLbl>
            <c:dLbl>
              <c:idx val="1"/>
              <c:tx>
                <c:rich>
                  <a:bodyPr/>
                  <a:lstStyle/>
                  <a:p>
                    <a:r>
                      <a:t>333.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8.8141</c:v>
                </c:pt>
                <c:pt idx="1">
                  <c:v>333.977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88.8141</c:v>
                </c:pt>
                <c:pt idx="1">
                  <c:v>266.442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88.8141</c:v>
                </c:pt>
                <c:pt idx="1">
                  <c:v>300.210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680ML</c:v>
                </c:pt>
              </c:strCache>
            </c:strRef>
          </c:cat>
          <c:val>
            <c:numRef>
              <c:f>Sheet1!$B$2:$B$3</c:f>
              <c:numCache>
                <c:formatCode>General</c:formatCode>
                <c:ptCount val="2"/>
                <c:pt idx="0">
                  <c:v>1.88945</c:v>
                </c:pt>
                <c:pt idx="1">
                  <c:v>0.7270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09.64</a:t>
                    </a:r>
                  </a:p>
                </c:rich>
              </c:tx>
              <c:dLblPos val="t"/>
              <c:showLegendKey val="0"/>
              <c:showVal val="1"/>
              <c:showCatName val="0"/>
              <c:showSerName val="0"/>
              <c:showPercent val="0"/>
              <c:showBubbleSize val="0"/>
            </c:dLbl>
            <c:dLbl>
              <c:idx val="1"/>
              <c:tx>
                <c:rich>
                  <a:bodyPr/>
                  <a:lstStyle/>
                  <a:p>
                    <a:r>
                      <a:t>243.2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680ML</c:v>
                </c:pt>
              </c:strCache>
            </c:strRef>
          </c:cat>
          <c:val>
            <c:numRef>
              <c:f>Sheet1!$C$2:$C$3</c:f>
              <c:numCache>
                <c:formatCode>General</c:formatCode>
                <c:ptCount val="2"/>
                <c:pt idx="0">
                  <c:v>309.6362</c:v>
                </c:pt>
                <c:pt idx="1">
                  <c:v>243.262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680ML</c:v>
                </c:pt>
              </c:strCache>
            </c:strRef>
          </c:cat>
          <c:val>
            <c:numRef>
              <c:f>Sheet1!$D$2:$D$3</c:f>
              <c:numCache>
                <c:formatCode>General</c:formatCode>
                <c:ptCount val="2"/>
                <c:pt idx="0">
                  <c:v>309.6362</c:v>
                </c:pt>
                <c:pt idx="1">
                  <c:v>1238.54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8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680ML</c:v>
                </c:pt>
              </c:strCache>
            </c:strRef>
          </c:cat>
          <c:val>
            <c:numRef>
              <c:f>Sheet1!$E$2:$E$3</c:f>
              <c:numCache>
                <c:formatCode>General</c:formatCode>
                <c:ptCount val="2"/>
                <c:pt idx="0">
                  <c:v>309.6362</c:v>
                </c:pt>
                <c:pt idx="1">
                  <c:v>740.903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50ML</c:v>
                </c:pt>
                <c:pt idx="1">
                  <c:v>180ML</c:v>
                </c:pt>
              </c:strCache>
            </c:strRef>
          </c:cat>
          <c:val>
            <c:numRef>
              <c:f>Sheet1!$B$2:$B$3</c:f>
              <c:numCache>
                <c:formatCode>General</c:formatCode>
                <c:ptCount val="2"/>
                <c:pt idx="0">
                  <c:v>1.22635</c:v>
                </c:pt>
                <c:pt idx="1">
                  <c:v>0.0662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56.02</a:t>
                    </a:r>
                  </a:p>
                </c:rich>
              </c:tx>
              <c:dLblPos val="t"/>
              <c:showLegendKey val="0"/>
              <c:showVal val="1"/>
              <c:showCatName val="0"/>
              <c:showSerName val="0"/>
              <c:showPercent val="0"/>
              <c:showBubbleSize val="0"/>
            </c:dLbl>
            <c:dLbl>
              <c:idx val="1"/>
              <c:tx>
                <c:rich>
                  <a:bodyPr/>
                  <a:lstStyle/>
                  <a:p>
                    <a:r>
                      <a:t>405.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50ML</c:v>
                </c:pt>
                <c:pt idx="1">
                  <c:v>180ML</c:v>
                </c:pt>
              </c:strCache>
            </c:strRef>
          </c:cat>
          <c:val>
            <c:numRef>
              <c:f>Sheet1!$C$2:$C$3</c:f>
              <c:numCache>
                <c:formatCode>General</c:formatCode>
                <c:ptCount val="2"/>
                <c:pt idx="0">
                  <c:v>356.0194</c:v>
                </c:pt>
                <c:pt idx="1">
                  <c:v>405.928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50ML</c:v>
                </c:pt>
                <c:pt idx="1">
                  <c:v>180ML</c:v>
                </c:pt>
              </c:strCache>
            </c:strRef>
          </c:cat>
          <c:val>
            <c:numRef>
              <c:f>Sheet1!$D$2:$D$3</c:f>
              <c:numCache>
                <c:formatCode>General</c:formatCode>
                <c:ptCount val="2"/>
                <c:pt idx="0">
                  <c:v>356.0194</c:v>
                </c:pt>
                <c:pt idx="1">
                  <c:v>1281.669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50ML</c:v>
                </c:pt>
                <c:pt idx="1">
                  <c:v>180ML</c:v>
                </c:pt>
              </c:strCache>
            </c:strRef>
          </c:cat>
          <c:val>
            <c:numRef>
              <c:f>Sheet1!$E$2:$E$3</c:f>
              <c:numCache>
                <c:formatCode>General</c:formatCode>
                <c:ptCount val="2"/>
                <c:pt idx="0">
                  <c:v>356.0194</c:v>
                </c:pt>
                <c:pt idx="1">
                  <c:v>843.7992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0.5307</c:v>
                </c:pt>
                <c:pt idx="1">
                  <c:v>0.104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4.59</a:t>
                    </a:r>
                  </a:p>
                </c:rich>
              </c:tx>
              <c:dLblPos val="t"/>
              <c:showLegendKey val="0"/>
              <c:showVal val="1"/>
              <c:showCatName val="0"/>
              <c:showSerName val="0"/>
              <c:showPercent val="0"/>
              <c:showBubbleSize val="0"/>
            </c:dLbl>
            <c:dLbl>
              <c:idx val="1"/>
              <c:tx>
                <c:rich>
                  <a:bodyPr/>
                  <a:lstStyle/>
                  <a:p>
                    <a:r>
                      <a:t>125.0</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234.5916</c:v>
                </c:pt>
                <c:pt idx="1">
                  <c:v>125.0</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234.5916</c:v>
                </c:pt>
                <c:pt idx="1">
                  <c:v>703.77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8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234.5916</c:v>
                </c:pt>
                <c:pt idx="1">
                  <c:v>414.38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50ML</c:v>
                </c:pt>
                <c:pt idx="1">
                  <c:v>100ML</c:v>
                </c:pt>
              </c:strCache>
            </c:strRef>
          </c:cat>
          <c:val>
            <c:numRef>
              <c:f>Sheet1!$B$2:$B$3</c:f>
              <c:numCache>
                <c:formatCode>General</c:formatCode>
                <c:ptCount val="2"/>
                <c:pt idx="0">
                  <c:v>27.40625</c:v>
                </c:pt>
                <c:pt idx="1">
                  <c:v>2.1996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07</a:t>
                    </a:r>
                  </a:p>
                </c:rich>
              </c:tx>
              <c:dLblPos val="t"/>
              <c:showLegendKey val="0"/>
              <c:showVal val="1"/>
              <c:showCatName val="0"/>
              <c:showSerName val="0"/>
              <c:showPercent val="0"/>
              <c:showBubbleSize val="0"/>
            </c:dLbl>
            <c:dLbl>
              <c:idx val="1"/>
              <c:tx>
                <c:rich>
                  <a:bodyPr/>
                  <a:lstStyle/>
                  <a:p>
                    <a:r>
                      <a:t>242.1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50ML</c:v>
                </c:pt>
                <c:pt idx="1">
                  <c:v>100ML</c:v>
                </c:pt>
              </c:strCache>
            </c:strRef>
          </c:cat>
          <c:val>
            <c:numRef>
              <c:f>Sheet1!$C$2:$C$3</c:f>
              <c:numCache>
                <c:formatCode>General</c:formatCode>
                <c:ptCount val="2"/>
                <c:pt idx="0">
                  <c:v>265.073</c:v>
                </c:pt>
                <c:pt idx="1">
                  <c:v>242.110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50ML</c:v>
                </c:pt>
                <c:pt idx="1">
                  <c:v>100ML</c:v>
                </c:pt>
              </c:strCache>
            </c:strRef>
          </c:cat>
          <c:val>
            <c:numRef>
              <c:f>Sheet1!$D$2:$D$3</c:f>
              <c:numCache>
                <c:formatCode>General</c:formatCode>
                <c:ptCount val="2"/>
                <c:pt idx="0">
                  <c:v>265.073</c:v>
                </c:pt>
                <c:pt idx="1">
                  <c:v>530.14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50ML</c:v>
                </c:pt>
                <c:pt idx="1">
                  <c:v>100ML</c:v>
                </c:pt>
              </c:strCache>
            </c:strRef>
          </c:cat>
          <c:val>
            <c:numRef>
              <c:f>Sheet1!$E$2:$E$3</c:f>
              <c:numCache>
                <c:formatCode>General</c:formatCode>
                <c:ptCount val="2"/>
                <c:pt idx="0">
                  <c:v>265.073</c:v>
                </c:pt>
                <c:pt idx="1">
                  <c:v>386.1284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230ML</c:v>
                </c:pt>
                <c:pt idx="1">
                  <c:v>453ML</c:v>
                </c:pt>
                <c:pt idx="2">
                  <c:v>473ML</c:v>
                </c:pt>
              </c:strCache>
            </c:strRef>
          </c:cat>
          <c:val>
            <c:numRef>
              <c:f>Sheet1!$B$2:$B$4</c:f>
              <c:numCache>
                <c:formatCode>General</c:formatCode>
                <c:ptCount val="3"/>
                <c:pt idx="0">
                  <c:v>15.40345</c:v>
                </c:pt>
                <c:pt idx="1">
                  <c:v>0.5119</c:v>
                </c:pt>
                <c:pt idx="2">
                  <c:v>9.4916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2.64</a:t>
                    </a:r>
                  </a:p>
                </c:rich>
              </c:tx>
              <c:dLblPos val="t"/>
              <c:showLegendKey val="0"/>
              <c:showVal val="1"/>
              <c:showCatName val="0"/>
              <c:showSerName val="0"/>
              <c:showPercent val="0"/>
              <c:showBubbleSize val="0"/>
            </c:dLbl>
            <c:dLbl>
              <c:idx val="1"/>
              <c:tx>
                <c:rich>
                  <a:bodyPr/>
                  <a:lstStyle/>
                  <a:p>
                    <a:r>
                      <a:t>159.59</a:t>
                    </a:r>
                  </a:p>
                </c:rich>
              </c:tx>
              <c:dLblPos val="t"/>
              <c:showLegendKey val="0"/>
              <c:showVal val="1"/>
              <c:showCatName val="0"/>
              <c:showSerName val="0"/>
              <c:showPercent val="0"/>
              <c:showBubbleSize val="0"/>
            </c:dLbl>
            <c:dLbl>
              <c:idx val="2"/>
              <c:tx>
                <c:rich>
                  <a:bodyPr/>
                  <a:lstStyle/>
                  <a:p>
                    <a:r>
                      <a:t>161.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30ML</c:v>
                </c:pt>
                <c:pt idx="1">
                  <c:v>453ML</c:v>
                </c:pt>
                <c:pt idx="2">
                  <c:v>473ML</c:v>
                </c:pt>
              </c:strCache>
            </c:strRef>
          </c:cat>
          <c:val>
            <c:numRef>
              <c:f>Sheet1!$C$2:$C$4</c:f>
              <c:numCache>
                <c:formatCode>General</c:formatCode>
                <c:ptCount val="3"/>
                <c:pt idx="0">
                  <c:v>132.6419</c:v>
                </c:pt>
                <c:pt idx="1">
                  <c:v>159.5931</c:v>
                </c:pt>
                <c:pt idx="2">
                  <c:v>161.1951</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230ML</c:v>
                </c:pt>
                <c:pt idx="1">
                  <c:v>453ML</c:v>
                </c:pt>
                <c:pt idx="2">
                  <c:v>473ML</c:v>
                </c:pt>
              </c:strCache>
            </c:strRef>
          </c:cat>
          <c:val>
            <c:numRef>
              <c:f>Sheet1!$D$2:$D$4</c:f>
              <c:numCache>
                <c:formatCode>General</c:formatCode>
                <c:ptCount val="3"/>
                <c:pt idx="0">
                  <c:v>132.6419</c:v>
                </c:pt>
                <c:pt idx="1">
                  <c:v>261.24687260869564</c:v>
                </c:pt>
                <c:pt idx="2">
                  <c:v>272.7809508695652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4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230ML</c:v>
                </c:pt>
                <c:pt idx="1">
                  <c:v>453ML</c:v>
                </c:pt>
                <c:pt idx="2">
                  <c:v>473ML</c:v>
                </c:pt>
              </c:strCache>
            </c:strRef>
          </c:cat>
          <c:val>
            <c:numRef>
              <c:f>Sheet1!$E$2:$E$4</c:f>
              <c:numCache>
                <c:formatCode>General</c:formatCode>
                <c:ptCount val="3"/>
                <c:pt idx="0">
                  <c:v>132.6419</c:v>
                </c:pt>
                <c:pt idx="1">
                  <c:v>210.41998630434782</c:v>
                </c:pt>
                <c:pt idx="2">
                  <c:v>216.9880254347826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12.90464</c:v>
                </c:pt>
                <c:pt idx="1">
                  <c:v>77.8283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1.09</a:t>
                    </a:r>
                  </a:p>
                </c:rich>
              </c:tx>
              <c:dLblPos val="t"/>
              <c:showLegendKey val="0"/>
              <c:showVal val="1"/>
              <c:showCatName val="0"/>
              <c:showSerName val="0"/>
              <c:showPercent val="0"/>
              <c:showBubbleSize val="0"/>
            </c:dLbl>
            <c:dLbl>
              <c:idx val="1"/>
              <c:tx>
                <c:rich>
                  <a:bodyPr/>
                  <a:lstStyle/>
                  <a:p>
                    <a:r>
                      <a:t>290.2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61.0909</c:v>
                </c:pt>
                <c:pt idx="1">
                  <c:v>290.292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21.4095338983051</c:v>
                </c:pt>
                <c:pt idx="1">
                  <c:v>290.292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41.25021694915256</c:v>
                </c:pt>
                <c:pt idx="1">
                  <c:v>290.29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5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15.09995</c:v>
                </c:pt>
                <c:pt idx="1">
                  <c:v>94.8239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96.2</a:t>
                    </a:r>
                  </a:p>
                </c:rich>
              </c:tx>
              <c:dLblPos val="t"/>
              <c:showLegendKey val="0"/>
              <c:showVal val="1"/>
              <c:showCatName val="0"/>
              <c:showSerName val="0"/>
              <c:showPercent val="0"/>
              <c:showBubbleSize val="0"/>
            </c:dLbl>
            <c:dLbl>
              <c:idx val="1"/>
              <c:tx>
                <c:rich>
                  <a:bodyPr/>
                  <a:lstStyle/>
                  <a:p>
                    <a:r>
                      <a:t>281.6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296.204</c:v>
                </c:pt>
                <c:pt idx="1">
                  <c:v>281.606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214.7844661016949</c:v>
                </c:pt>
                <c:pt idx="1">
                  <c:v>281.606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255.49423305084747</c:v>
                </c:pt>
                <c:pt idx="1">
                  <c:v>281.606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8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23.92325</c:v>
                </c:pt>
                <c:pt idx="1">
                  <c:v>16.63639</c:v>
                </c:pt>
                <c:pt idx="2">
                  <c:v>42.765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5.64</a:t>
                    </a:r>
                  </a:p>
                </c:rich>
              </c:tx>
              <c:dLblPos val="t"/>
              <c:showLegendKey val="0"/>
              <c:showVal val="1"/>
              <c:showCatName val="0"/>
              <c:showSerName val="0"/>
              <c:showPercent val="0"/>
              <c:showBubbleSize val="0"/>
            </c:dLbl>
            <c:dLbl>
              <c:idx val="1"/>
              <c:tx>
                <c:rich>
                  <a:bodyPr/>
                  <a:lstStyle/>
                  <a:p>
                    <a:r>
                      <a:t>254.05</a:t>
                    </a:r>
                  </a:p>
                </c:rich>
              </c:tx>
              <c:dLblPos val="t"/>
              <c:showLegendKey val="0"/>
              <c:showVal val="1"/>
              <c:showCatName val="0"/>
              <c:showSerName val="0"/>
              <c:showPercent val="0"/>
              <c:showBubbleSize val="0"/>
            </c:dLbl>
            <c:dLbl>
              <c:idx val="2"/>
              <c:tx>
                <c:rich>
                  <a:bodyPr/>
                  <a:lstStyle/>
                  <a:p>
                    <a:r>
                      <a:t>298.8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85.6442</c:v>
                </c:pt>
                <c:pt idx="1">
                  <c:v>254.0503</c:v>
                </c:pt>
                <c:pt idx="2">
                  <c:v>298.88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85.6442</c:v>
                </c:pt>
                <c:pt idx="1">
                  <c:v>256.9326</c:v>
                </c:pt>
                <c:pt idx="2">
                  <c:v>342.576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85.6442</c:v>
                </c:pt>
                <c:pt idx="1">
                  <c:v>255.49145</c:v>
                </c:pt>
                <c:pt idx="2">
                  <c:v>320.7302499999999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60ML</c:v>
                </c:pt>
                <c:pt idx="1">
                  <c:v>180ML</c:v>
                </c:pt>
                <c:pt idx="2">
                  <c:v>240ML</c:v>
                </c:pt>
              </c:strCache>
            </c:strRef>
          </c:cat>
          <c:val>
            <c:numRef>
              <c:f>Sheet1!$B$2:$B$4</c:f>
              <c:numCache>
                <c:formatCode>General</c:formatCode>
                <c:ptCount val="3"/>
                <c:pt idx="0">
                  <c:v>22.96813</c:v>
                </c:pt>
                <c:pt idx="1">
                  <c:v>0.73016</c:v>
                </c:pt>
                <c:pt idx="2">
                  <c:v>25.69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1.75</a:t>
                    </a:r>
                  </a:p>
                </c:rich>
              </c:tx>
              <c:dLblPos val="t"/>
              <c:showLegendKey val="0"/>
              <c:showVal val="1"/>
              <c:showCatName val="0"/>
              <c:showSerName val="0"/>
              <c:showPercent val="0"/>
              <c:showBubbleSize val="0"/>
            </c:dLbl>
            <c:dLbl>
              <c:idx val="1"/>
              <c:tx>
                <c:rich>
                  <a:bodyPr/>
                  <a:lstStyle/>
                  <a:p>
                    <a:r>
                      <a:t>259.12</a:t>
                    </a:r>
                  </a:p>
                </c:rich>
              </c:tx>
              <c:dLblPos val="t"/>
              <c:showLegendKey val="0"/>
              <c:showVal val="1"/>
              <c:showCatName val="0"/>
              <c:showSerName val="0"/>
              <c:showPercent val="0"/>
              <c:showBubbleSize val="0"/>
            </c:dLbl>
            <c:dLbl>
              <c:idx val="2"/>
              <c:tx>
                <c:rich>
                  <a:bodyPr/>
                  <a:lstStyle/>
                  <a:p>
                    <a:r>
                      <a:t>330.5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60ML</c:v>
                </c:pt>
                <c:pt idx="1">
                  <c:v>180ML</c:v>
                </c:pt>
                <c:pt idx="2">
                  <c:v>240ML</c:v>
                </c:pt>
              </c:strCache>
            </c:strRef>
          </c:cat>
          <c:val>
            <c:numRef>
              <c:f>Sheet1!$C$2:$C$4</c:f>
              <c:numCache>
                <c:formatCode>General</c:formatCode>
                <c:ptCount val="3"/>
                <c:pt idx="0">
                  <c:v>91.7478</c:v>
                </c:pt>
                <c:pt idx="1">
                  <c:v>259.1193</c:v>
                </c:pt>
                <c:pt idx="2">
                  <c:v>330.544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60ML</c:v>
                </c:pt>
                <c:pt idx="1">
                  <c:v>180ML</c:v>
                </c:pt>
                <c:pt idx="2">
                  <c:v>240ML</c:v>
                </c:pt>
              </c:strCache>
            </c:strRef>
          </c:cat>
          <c:val>
            <c:numRef>
              <c:f>Sheet1!$D$2:$D$4</c:f>
              <c:numCache>
                <c:formatCode>General</c:formatCode>
                <c:ptCount val="3"/>
                <c:pt idx="0">
                  <c:v>91.7478</c:v>
                </c:pt>
                <c:pt idx="1">
                  <c:v>275.24339999999995</c:v>
                </c:pt>
                <c:pt idx="2">
                  <c:v>366.991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60ML</c:v>
                </c:pt>
                <c:pt idx="1">
                  <c:v>180ML</c:v>
                </c:pt>
                <c:pt idx="2">
                  <c:v>240ML</c:v>
                </c:pt>
              </c:strCache>
            </c:strRef>
          </c:cat>
          <c:val>
            <c:numRef>
              <c:f>Sheet1!$E$2:$E$4</c:f>
              <c:numCache>
                <c:formatCode>General</c:formatCode>
                <c:ptCount val="3"/>
                <c:pt idx="0">
                  <c:v>91.7478</c:v>
                </c:pt>
                <c:pt idx="1">
                  <c:v>267.18134999999995</c:v>
                </c:pt>
                <c:pt idx="2">
                  <c:v>348.7677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36.78772</c:v>
                </c:pt>
                <c:pt idx="1">
                  <c:v>0.0975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2.83</a:t>
                    </a:r>
                  </a:p>
                </c:rich>
              </c:tx>
              <c:dLblPos val="t"/>
              <c:showLegendKey val="0"/>
              <c:showVal val="1"/>
              <c:showCatName val="0"/>
              <c:showSerName val="0"/>
              <c:showPercent val="0"/>
              <c:showBubbleSize val="0"/>
            </c:dLbl>
            <c:dLbl>
              <c:idx val="1"/>
              <c:tx>
                <c:rich>
                  <a:bodyPr/>
                  <a:lstStyle/>
                  <a:p>
                    <a:r>
                      <a:t>268.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312.8295</c:v>
                </c:pt>
                <c:pt idx="1">
                  <c:v>268.740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312.8295</c:v>
                </c:pt>
                <c:pt idx="1">
                  <c:v>331.231235294117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312.8295</c:v>
                </c:pt>
                <c:pt idx="1">
                  <c:v>299.985967647058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7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9.78034</c:v>
                </c:pt>
                <c:pt idx="1">
                  <c:v>52.1897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8.77</a:t>
                    </a:r>
                  </a:p>
                </c:rich>
              </c:tx>
              <c:dLblPos val="t"/>
              <c:showLegendKey val="0"/>
              <c:showVal val="1"/>
              <c:showCatName val="0"/>
              <c:showSerName val="0"/>
              <c:showPercent val="0"/>
              <c:showBubbleSize val="0"/>
            </c:dLbl>
            <c:dLbl>
              <c:idx val="1"/>
              <c:tx>
                <c:rich>
                  <a:bodyPr/>
                  <a:lstStyle/>
                  <a:p>
                    <a:r>
                      <a:t>311.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288.7734</c:v>
                </c:pt>
                <c:pt idx="1">
                  <c:v>311.92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41.03372727272725</c:v>
                </c:pt>
                <c:pt idx="1">
                  <c:v>311.92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64.90356363636363</c:v>
                </c:pt>
                <c:pt idx="1">
                  <c:v>311.92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0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6</c:f>
              <c:strCache>
                <c:ptCount val="5"/>
                <c:pt idx="0">
                  <c:v>60ML</c:v>
                </c:pt>
                <c:pt idx="1">
                  <c:v>118ML</c:v>
                </c:pt>
                <c:pt idx="2">
                  <c:v>180ML</c:v>
                </c:pt>
                <c:pt idx="3">
                  <c:v>236ML</c:v>
                </c:pt>
                <c:pt idx="4">
                  <c:v>472ML</c:v>
                </c:pt>
              </c:strCache>
            </c:strRef>
          </c:cat>
          <c:val>
            <c:numRef>
              <c:f>Sheet1!$B$2:$B$6</c:f>
              <c:numCache>
                <c:formatCode>General</c:formatCode>
                <c:ptCount val="5"/>
                <c:pt idx="0">
                  <c:v>9.37562</c:v>
                </c:pt>
                <c:pt idx="1">
                  <c:v>4.01636</c:v>
                </c:pt>
                <c:pt idx="2">
                  <c:v>32.67999</c:v>
                </c:pt>
                <c:pt idx="3">
                  <c:v>58.75592</c:v>
                </c:pt>
                <c:pt idx="4">
                  <c:v>0.0118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7.84</a:t>
                    </a:r>
                  </a:p>
                </c:rich>
              </c:tx>
              <c:dLblPos val="t"/>
              <c:showLegendKey val="0"/>
              <c:showVal val="1"/>
              <c:showCatName val="0"/>
              <c:showSerName val="0"/>
              <c:showPercent val="0"/>
              <c:showBubbleSize val="0"/>
            </c:dLbl>
            <c:dLbl>
              <c:idx val="1"/>
              <c:tx>
                <c:rich>
                  <a:bodyPr/>
                  <a:lstStyle/>
                  <a:p>
                    <a:r>
                      <a:t>161.13</a:t>
                    </a:r>
                  </a:p>
                </c:rich>
              </c:tx>
              <c:dLblPos val="t"/>
              <c:showLegendKey val="0"/>
              <c:showVal val="1"/>
              <c:showCatName val="0"/>
              <c:showSerName val="0"/>
              <c:showPercent val="0"/>
              <c:showBubbleSize val="0"/>
            </c:dLbl>
            <c:dLbl>
              <c:idx val="2"/>
              <c:tx>
                <c:rich>
                  <a:bodyPr/>
                  <a:lstStyle/>
                  <a:p>
                    <a:r>
                      <a:t>316.12</a:t>
                    </a:r>
                  </a:p>
                </c:rich>
              </c:tx>
              <c:dLblPos val="t"/>
              <c:showLegendKey val="0"/>
              <c:showVal val="1"/>
              <c:showCatName val="0"/>
              <c:showSerName val="0"/>
              <c:showPercent val="0"/>
              <c:showBubbleSize val="0"/>
            </c:dLbl>
            <c:dLbl>
              <c:idx val="3"/>
              <c:tx>
                <c:rich>
                  <a:bodyPr/>
                  <a:lstStyle/>
                  <a:p>
                    <a:r>
                      <a:t>268.26</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157.85</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60ML</c:v>
                </c:pt>
                <c:pt idx="1">
                  <c:v>118ML</c:v>
                </c:pt>
                <c:pt idx="2">
                  <c:v>180ML</c:v>
                </c:pt>
                <c:pt idx="3">
                  <c:v>236ML</c:v>
                </c:pt>
                <c:pt idx="4">
                  <c:v>472ML</c:v>
                </c:pt>
              </c:strCache>
            </c:strRef>
          </c:cat>
          <c:val>
            <c:numRef>
              <c:f>Sheet1!$C$2:$C$6</c:f>
              <c:numCache>
                <c:formatCode>General</c:formatCode>
                <c:ptCount val="5"/>
                <c:pt idx="0">
                  <c:v>287.8355</c:v>
                </c:pt>
                <c:pt idx="1">
                  <c:v>161.1304</c:v>
                </c:pt>
                <c:pt idx="2">
                  <c:v>316.1234</c:v>
                </c:pt>
                <c:pt idx="3">
                  <c:v>268.2644</c:v>
                </c:pt>
                <c:pt idx="4">
                  <c:v>157.846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6</c:f>
              <c:strCache>
                <c:ptCount val="5"/>
                <c:pt idx="0">
                  <c:v>60ML</c:v>
                </c:pt>
                <c:pt idx="1">
                  <c:v>118ML</c:v>
                </c:pt>
                <c:pt idx="2">
                  <c:v>180ML</c:v>
                </c:pt>
                <c:pt idx="3">
                  <c:v>236ML</c:v>
                </c:pt>
                <c:pt idx="4">
                  <c:v>472ML</c:v>
                </c:pt>
              </c:strCache>
            </c:strRef>
          </c:cat>
          <c:val>
            <c:numRef>
              <c:f>Sheet1!$D$2:$D$6</c:f>
              <c:numCache>
                <c:formatCode>General</c:formatCode>
                <c:ptCount val="5"/>
                <c:pt idx="0">
                  <c:v>68.20281355932205</c:v>
                </c:pt>
                <c:pt idx="1">
                  <c:v>134.1322</c:v>
                </c:pt>
                <c:pt idx="2">
                  <c:v>204.60844067796614</c:v>
                </c:pt>
                <c:pt idx="3">
                  <c:v>268.2644</c:v>
                </c:pt>
                <c:pt idx="4">
                  <c:v>536.528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2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5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7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60ML</c:v>
                </c:pt>
                <c:pt idx="1">
                  <c:v>118ML</c:v>
                </c:pt>
                <c:pt idx="2">
                  <c:v>180ML</c:v>
                </c:pt>
                <c:pt idx="3">
                  <c:v>236ML</c:v>
                </c:pt>
                <c:pt idx="4">
                  <c:v>472ML</c:v>
                </c:pt>
              </c:strCache>
            </c:strRef>
          </c:cat>
          <c:val>
            <c:numRef>
              <c:f>Sheet1!$E$2:$E$6</c:f>
              <c:numCache>
                <c:formatCode>General</c:formatCode>
                <c:ptCount val="5"/>
                <c:pt idx="0">
                  <c:v>178.01915677966105</c:v>
                </c:pt>
                <c:pt idx="1">
                  <c:v>147.6313</c:v>
                </c:pt>
                <c:pt idx="2">
                  <c:v>260.3659203389831</c:v>
                </c:pt>
                <c:pt idx="3">
                  <c:v>268.2644</c:v>
                </c:pt>
                <c:pt idx="4">
                  <c:v>347.187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16.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1.62294</c:v>
                </c:pt>
                <c:pt idx="1">
                  <c:v>12.2335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9.08</a:t>
                    </a:r>
                  </a:p>
                </c:rich>
              </c:tx>
              <c:dLblPos val="t"/>
              <c:showLegendKey val="0"/>
              <c:showVal val="1"/>
              <c:showCatName val="0"/>
              <c:showSerName val="0"/>
              <c:showPercent val="0"/>
              <c:showBubbleSize val="0"/>
            </c:dLbl>
            <c:dLbl>
              <c:idx val="1"/>
              <c:tx>
                <c:rich>
                  <a:bodyPr/>
                  <a:lstStyle/>
                  <a:p>
                    <a:r>
                      <a:t>318.7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9.0784</c:v>
                </c:pt>
                <c:pt idx="1">
                  <c:v>318.70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106.2359</c:v>
                </c:pt>
                <c:pt idx="1">
                  <c:v>318.70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97.65715</c:v>
                </c:pt>
                <c:pt idx="1">
                  <c:v>318.70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680ML</c:v>
                </c:pt>
              </c:strCache>
            </c:strRef>
          </c:cat>
          <c:val>
            <c:numRef>
              <c:f>Sheet1!$B$2:$B$3</c:f>
              <c:numCache>
                <c:formatCode>General</c:formatCode>
                <c:ptCount val="2"/>
                <c:pt idx="0">
                  <c:v>1.88946</c:v>
                </c:pt>
                <c:pt idx="1">
                  <c:v>0.727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10.6</a:t>
                    </a:r>
                  </a:p>
                </c:rich>
              </c:tx>
              <c:dLblPos val="t"/>
              <c:showLegendKey val="0"/>
              <c:showVal val="1"/>
              <c:showCatName val="0"/>
              <c:showSerName val="0"/>
              <c:showPercent val="0"/>
              <c:showBubbleSize val="0"/>
            </c:dLbl>
            <c:dLbl>
              <c:idx val="1"/>
              <c:tx>
                <c:rich>
                  <a:bodyPr/>
                  <a:lstStyle/>
                  <a:p>
                    <a:r>
                      <a:t>240.7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680ML</c:v>
                </c:pt>
              </c:strCache>
            </c:strRef>
          </c:cat>
          <c:val>
            <c:numRef>
              <c:f>Sheet1!$C$2:$C$3</c:f>
              <c:numCache>
                <c:formatCode>General</c:formatCode>
                <c:ptCount val="2"/>
                <c:pt idx="0">
                  <c:v>310.5951</c:v>
                </c:pt>
                <c:pt idx="1">
                  <c:v>240.73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680ML</c:v>
                </c:pt>
              </c:strCache>
            </c:strRef>
          </c:cat>
          <c:val>
            <c:numRef>
              <c:f>Sheet1!$D$2:$D$3</c:f>
              <c:numCache>
                <c:formatCode>General</c:formatCode>
                <c:ptCount val="2"/>
                <c:pt idx="0">
                  <c:v>310.5951</c:v>
                </c:pt>
                <c:pt idx="1">
                  <c:v>1242.38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8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680ML</c:v>
                </c:pt>
              </c:strCache>
            </c:strRef>
          </c:cat>
          <c:val>
            <c:numRef>
              <c:f>Sheet1!$E$2:$E$3</c:f>
              <c:numCache>
                <c:formatCode>General</c:formatCode>
                <c:ptCount val="2"/>
                <c:pt idx="0">
                  <c:v>310.5951</c:v>
                </c:pt>
                <c:pt idx="1">
                  <c:v>741.55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0ML</c:v>
                </c:pt>
                <c:pt idx="1">
                  <c:v>240ML</c:v>
                </c:pt>
              </c:strCache>
            </c:strRef>
          </c:cat>
          <c:val>
            <c:numRef>
              <c:f>Sheet1!$B$2:$B$3</c:f>
              <c:numCache>
                <c:formatCode>General</c:formatCode>
                <c:ptCount val="2"/>
                <c:pt idx="0">
                  <c:v>55.13559</c:v>
                </c:pt>
                <c:pt idx="1">
                  <c:v>185.0689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89.54</a:t>
                    </a:r>
                  </a:p>
                </c:rich>
              </c:tx>
              <c:dLblPos val="t"/>
              <c:showLegendKey val="0"/>
              <c:showVal val="1"/>
              <c:showCatName val="0"/>
              <c:showSerName val="0"/>
              <c:showPercent val="0"/>
              <c:showBubbleSize val="0"/>
            </c:dLbl>
            <c:dLbl>
              <c:idx val="1"/>
              <c:tx>
                <c:rich>
                  <a:bodyPr/>
                  <a:lstStyle/>
                  <a:p>
                    <a:r>
                      <a:t>309.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0ML</c:v>
                </c:pt>
                <c:pt idx="1">
                  <c:v>240ML</c:v>
                </c:pt>
              </c:strCache>
            </c:strRef>
          </c:cat>
          <c:val>
            <c:numRef>
              <c:f>Sheet1!$C$2:$C$3</c:f>
              <c:numCache>
                <c:formatCode>General</c:formatCode>
                <c:ptCount val="2"/>
                <c:pt idx="0">
                  <c:v>189.5414</c:v>
                </c:pt>
                <c:pt idx="1">
                  <c:v>309.46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0ML</c:v>
                </c:pt>
                <c:pt idx="1">
                  <c:v>240ML</c:v>
                </c:pt>
              </c:strCache>
            </c:strRef>
          </c:cat>
          <c:val>
            <c:numRef>
              <c:f>Sheet1!$D$2:$D$3</c:f>
              <c:numCache>
                <c:formatCode>General</c:formatCode>
                <c:ptCount val="2"/>
                <c:pt idx="0">
                  <c:v>154.73445</c:v>
                </c:pt>
                <c:pt idx="1">
                  <c:v>309.46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0ML</c:v>
                </c:pt>
                <c:pt idx="1">
                  <c:v>240ML</c:v>
                </c:pt>
              </c:strCache>
            </c:strRef>
          </c:cat>
          <c:val>
            <c:numRef>
              <c:f>Sheet1!$E$2:$E$3</c:f>
              <c:numCache>
                <c:formatCode>General</c:formatCode>
                <c:ptCount val="2"/>
                <c:pt idx="0">
                  <c:v>172.137925</c:v>
                </c:pt>
                <c:pt idx="1">
                  <c:v>309.46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37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5"/>
              <c:tx>
                <c:rich>
                  <a:bodyPr/>
                  <a:lstStyle/>
                  <a:p>
                    <a:r>
                      <a:rPr sz="1100">
                        <a:solidFill>
                          <a:srgbClr val="00A097"/>
                        </a:solidFill>
                        <a:latin typeface="Nexa Book (Body)"/>
                      </a:rPr>
                      <a:t>Anchor</a:t>
                    </a:r>
                  </a:p>
                </c:rich>
              </c:tx>
              <c:dLblPos val="outEnd"/>
              <c:showLegendKey val="0"/>
              <c:showVal val="1"/>
              <c:showCatName val="0"/>
              <c:showSerName val="0"/>
              <c:showPercent val="0"/>
              <c:showBubbleSize val="0"/>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7</c:f>
              <c:strCache>
                <c:ptCount val="6"/>
                <c:pt idx="0">
                  <c:v>50ML</c:v>
                </c:pt>
                <c:pt idx="1">
                  <c:v>60ML</c:v>
                </c:pt>
                <c:pt idx="2">
                  <c:v>90ML</c:v>
                </c:pt>
                <c:pt idx="3">
                  <c:v>120ML</c:v>
                </c:pt>
                <c:pt idx="4">
                  <c:v>180ML</c:v>
                </c:pt>
                <c:pt idx="5">
                  <c:v>240ML</c:v>
                </c:pt>
              </c:strCache>
            </c:strRef>
          </c:cat>
          <c:val>
            <c:numRef>
              <c:f>Sheet1!$B$2:$B$7</c:f>
              <c:numCache>
                <c:formatCode>General</c:formatCode>
                <c:ptCount val="6"/>
                <c:pt idx="0">
                  <c:v>3.99915</c:v>
                </c:pt>
                <c:pt idx="1">
                  <c:v>14.85079</c:v>
                </c:pt>
                <c:pt idx="2">
                  <c:v>49.7928</c:v>
                </c:pt>
                <c:pt idx="3">
                  <c:v>25.70522</c:v>
                </c:pt>
                <c:pt idx="4">
                  <c:v>49.14143</c:v>
                </c:pt>
                <c:pt idx="5">
                  <c:v>149.8591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87.49</a:t>
                    </a:r>
                  </a:p>
                </c:rich>
              </c:tx>
              <c:dLblPos val="t"/>
              <c:showLegendKey val="0"/>
              <c:showVal val="1"/>
              <c:showCatName val="0"/>
              <c:showSerName val="0"/>
              <c:showPercent val="0"/>
              <c:showBubbleSize val="0"/>
            </c:dLbl>
            <c:dLbl>
              <c:idx val="1"/>
              <c:tx>
                <c:rich>
                  <a:bodyPr/>
                  <a:lstStyle/>
                  <a:p>
                    <a:r>
                      <a:t>119.39</a:t>
                    </a:r>
                  </a:p>
                </c:rich>
              </c:tx>
              <c:dLblPos val="t"/>
              <c:showLegendKey val="0"/>
              <c:showVal val="1"/>
              <c:showCatName val="0"/>
              <c:showSerName val="0"/>
              <c:showPercent val="0"/>
              <c:showBubbleSize val="0"/>
            </c:dLbl>
            <c:dLbl>
              <c:idx val="2"/>
              <c:tx>
                <c:rich>
                  <a:bodyPr/>
                  <a:lstStyle/>
                  <a:p>
                    <a:r>
                      <a:t>101.15</a:t>
                    </a:r>
                  </a:p>
                </c:rich>
              </c:tx>
              <c:dLblPos val="t"/>
              <c:showLegendKey val="0"/>
              <c:showVal val="1"/>
              <c:showCatName val="0"/>
              <c:showSerName val="0"/>
              <c:showPercent val="0"/>
              <c:showBubbleSize val="0"/>
            </c:dLbl>
            <c:dLbl>
              <c:idx val="3"/>
              <c:tx>
                <c:rich>
                  <a:bodyPr/>
                  <a:lstStyle/>
                  <a:p>
                    <a:r>
                      <a:t>194.2</a:t>
                    </a:r>
                  </a:p>
                </c:rich>
              </c:tx>
              <c:dLblPos val="t"/>
              <c:showLegendKey val="0"/>
              <c:showVal val="1"/>
              <c:showCatName val="0"/>
              <c:showSerName val="0"/>
              <c:showPercent val="0"/>
              <c:showBubbleSize val="0"/>
            </c:dLbl>
            <c:dLbl>
              <c:idx val="4"/>
              <c:layout>
                <c:manualLayout>
                  <c:x val="-2.7224852725498273E-2"/>
                  <c:y val="-4.3404321097021061E-2"/>
                </c:manualLayout>
              </c:layout>
              <c:tx>
                <c:rich>
                  <a:bodyPr/>
                  <a:lstStyle/>
                  <a:p>
                    <a:r>
                      <a:t>300.88</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dLbl>
              <c:idx val="5"/>
              <c:tx>
                <c:rich>
                  <a:bodyPr/>
                  <a:lstStyle/>
                  <a:p>
                    <a:r>
                      <a:t>302.34</a:t>
                    </a:r>
                  </a:p>
                </c:rich>
              </c:tx>
              <c:dLblPos val="t"/>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50ML</c:v>
                </c:pt>
                <c:pt idx="1">
                  <c:v>60ML</c:v>
                </c:pt>
                <c:pt idx="2">
                  <c:v>90ML</c:v>
                </c:pt>
                <c:pt idx="3">
                  <c:v>120ML</c:v>
                </c:pt>
                <c:pt idx="4">
                  <c:v>180ML</c:v>
                </c:pt>
                <c:pt idx="5">
                  <c:v>240ML</c:v>
                </c:pt>
              </c:strCache>
            </c:strRef>
          </c:cat>
          <c:val>
            <c:numRef>
              <c:f>Sheet1!$C$2:$C$7</c:f>
              <c:numCache>
                <c:formatCode>General</c:formatCode>
                <c:ptCount val="6"/>
                <c:pt idx="0">
                  <c:v>287.49</c:v>
                </c:pt>
                <c:pt idx="1">
                  <c:v>119.3888</c:v>
                </c:pt>
                <c:pt idx="2">
                  <c:v>101.1506</c:v>
                </c:pt>
                <c:pt idx="3">
                  <c:v>194.1983</c:v>
                </c:pt>
                <c:pt idx="4">
                  <c:v>300.8832</c:v>
                </c:pt>
                <c:pt idx="5">
                  <c:v>302.33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7</c:f>
              <c:strCache>
                <c:ptCount val="6"/>
                <c:pt idx="0">
                  <c:v>50ML</c:v>
                </c:pt>
                <c:pt idx="1">
                  <c:v>60ML</c:v>
                </c:pt>
                <c:pt idx="2">
                  <c:v>90ML</c:v>
                </c:pt>
                <c:pt idx="3">
                  <c:v>120ML</c:v>
                </c:pt>
                <c:pt idx="4">
                  <c:v>180ML</c:v>
                </c:pt>
                <c:pt idx="5">
                  <c:v>240ML</c:v>
                </c:pt>
              </c:strCache>
            </c:strRef>
          </c:cat>
          <c:val>
            <c:numRef>
              <c:f>Sheet1!$D$2:$D$7</c:f>
              <c:numCache>
                <c:formatCode>General</c:formatCode>
                <c:ptCount val="6"/>
                <c:pt idx="0">
                  <c:v>62.987</c:v>
                </c:pt>
                <c:pt idx="1">
                  <c:v>75.5844</c:v>
                </c:pt>
                <c:pt idx="2">
                  <c:v>113.37660000000001</c:v>
                </c:pt>
                <c:pt idx="3">
                  <c:v>151.1688</c:v>
                </c:pt>
                <c:pt idx="4">
                  <c:v>226.75320000000002</c:v>
                </c:pt>
                <c:pt idx="5">
                  <c:v>302.337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35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5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t>3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t>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7</c:f>
              <c:strCache>
                <c:ptCount val="6"/>
                <c:pt idx="0">
                  <c:v>50ML</c:v>
                </c:pt>
                <c:pt idx="1">
                  <c:v>60ML</c:v>
                </c:pt>
                <c:pt idx="2">
                  <c:v>90ML</c:v>
                </c:pt>
                <c:pt idx="3">
                  <c:v>120ML</c:v>
                </c:pt>
                <c:pt idx="4">
                  <c:v>180ML</c:v>
                </c:pt>
                <c:pt idx="5">
                  <c:v>240ML</c:v>
                </c:pt>
              </c:strCache>
            </c:strRef>
          </c:cat>
          <c:val>
            <c:numRef>
              <c:f>Sheet1!$E$2:$E$7</c:f>
              <c:numCache>
                <c:formatCode>General</c:formatCode>
                <c:ptCount val="6"/>
                <c:pt idx="0">
                  <c:v>175.23850000000002</c:v>
                </c:pt>
                <c:pt idx="1">
                  <c:v>97.48660000000001</c:v>
                </c:pt>
                <c:pt idx="2">
                  <c:v>107.2636</c:v>
                </c:pt>
                <c:pt idx="3">
                  <c:v>172.68355</c:v>
                </c:pt>
                <c:pt idx="4">
                  <c:v>263.8182</c:v>
                </c:pt>
                <c:pt idx="5">
                  <c:v>302.3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9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5</c:f>
              <c:strCache>
                <c:ptCount val="4"/>
                <c:pt idx="0">
                  <c:v>100ML</c:v>
                </c:pt>
                <c:pt idx="1">
                  <c:v>150ML</c:v>
                </c:pt>
                <c:pt idx="2">
                  <c:v>180ML</c:v>
                </c:pt>
                <c:pt idx="3">
                  <c:v>220ML</c:v>
                </c:pt>
              </c:strCache>
            </c:strRef>
          </c:cat>
          <c:val>
            <c:numRef>
              <c:f>Sheet1!$B$2:$B$5</c:f>
              <c:numCache>
                <c:formatCode>General</c:formatCode>
                <c:ptCount val="4"/>
                <c:pt idx="0">
                  <c:v>3.42895</c:v>
                </c:pt>
                <c:pt idx="1">
                  <c:v>2.46379</c:v>
                </c:pt>
                <c:pt idx="2">
                  <c:v>62.12039</c:v>
                </c:pt>
                <c:pt idx="3">
                  <c:v>19.3989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28.8</a:t>
                    </a:r>
                  </a:p>
                </c:rich>
              </c:tx>
              <c:dLblPos val="t"/>
              <c:showLegendKey val="0"/>
              <c:showVal val="1"/>
              <c:showCatName val="0"/>
              <c:showSerName val="0"/>
              <c:showPercent val="0"/>
              <c:showBubbleSize val="0"/>
            </c:dLbl>
            <c:dLbl>
              <c:idx val="1"/>
              <c:tx>
                <c:rich>
                  <a:bodyPr/>
                  <a:lstStyle/>
                  <a:p>
                    <a:r>
                      <a:t>308.57</a:t>
                    </a:r>
                  </a:p>
                </c:rich>
              </c:tx>
              <c:dLblPos val="t"/>
              <c:showLegendKey val="0"/>
              <c:showVal val="1"/>
              <c:showCatName val="0"/>
              <c:showSerName val="0"/>
              <c:showPercent val="0"/>
              <c:showBubbleSize val="0"/>
            </c:dLbl>
            <c:dLbl>
              <c:idx val="2"/>
              <c:tx>
                <c:rich>
                  <a:bodyPr/>
                  <a:lstStyle/>
                  <a:p>
                    <a:r>
                      <a:t>332.97</a:t>
                    </a:r>
                  </a:p>
                </c:rich>
              </c:tx>
              <c:dLblPos val="t"/>
              <c:showLegendKey val="0"/>
              <c:showVal val="1"/>
              <c:showCatName val="0"/>
              <c:showSerName val="0"/>
              <c:showPercent val="0"/>
              <c:showBubbleSize val="0"/>
            </c:dLbl>
            <c:dLbl>
              <c:idx val="3"/>
              <c:tx>
                <c:rich>
                  <a:bodyPr/>
                  <a:lstStyle/>
                  <a:p>
                    <a:r>
                      <a:t>290.3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00ML</c:v>
                </c:pt>
                <c:pt idx="1">
                  <c:v>150ML</c:v>
                </c:pt>
                <c:pt idx="2">
                  <c:v>180ML</c:v>
                </c:pt>
                <c:pt idx="3">
                  <c:v>220ML</c:v>
                </c:pt>
              </c:strCache>
            </c:strRef>
          </c:cat>
          <c:val>
            <c:numRef>
              <c:f>Sheet1!$C$2:$C$5</c:f>
              <c:numCache>
                <c:formatCode>General</c:formatCode>
                <c:ptCount val="4"/>
                <c:pt idx="0">
                  <c:v>328.799</c:v>
                </c:pt>
                <c:pt idx="1">
                  <c:v>308.5673</c:v>
                </c:pt>
                <c:pt idx="2">
                  <c:v>332.9718</c:v>
                </c:pt>
                <c:pt idx="3">
                  <c:v>290.38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5</c:f>
              <c:strCache>
                <c:ptCount val="4"/>
                <c:pt idx="0">
                  <c:v>100ML</c:v>
                </c:pt>
                <c:pt idx="1">
                  <c:v>150ML</c:v>
                </c:pt>
                <c:pt idx="2">
                  <c:v>180ML</c:v>
                </c:pt>
                <c:pt idx="3">
                  <c:v>220ML</c:v>
                </c:pt>
              </c:strCache>
            </c:strRef>
          </c:cat>
          <c:val>
            <c:numRef>
              <c:f>Sheet1!$D$2:$D$5</c:f>
              <c:numCache>
                <c:formatCode>General</c:formatCode>
                <c:ptCount val="4"/>
                <c:pt idx="0">
                  <c:v>184.98433333333332</c:v>
                </c:pt>
                <c:pt idx="1">
                  <c:v>277.4765</c:v>
                </c:pt>
                <c:pt idx="2">
                  <c:v>332.9718</c:v>
                </c:pt>
                <c:pt idx="3">
                  <c:v>406.9655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7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t>-29%</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5</c:f>
              <c:strCache>
                <c:ptCount val="4"/>
                <c:pt idx="0">
                  <c:v>100ML</c:v>
                </c:pt>
                <c:pt idx="1">
                  <c:v>150ML</c:v>
                </c:pt>
                <c:pt idx="2">
                  <c:v>180ML</c:v>
                </c:pt>
                <c:pt idx="3">
                  <c:v>220ML</c:v>
                </c:pt>
              </c:strCache>
            </c:strRef>
          </c:cat>
          <c:val>
            <c:numRef>
              <c:f>Sheet1!$E$2:$E$5</c:f>
              <c:numCache>
                <c:formatCode>General</c:formatCode>
                <c:ptCount val="4"/>
                <c:pt idx="0">
                  <c:v>256.89166666666665</c:v>
                </c:pt>
                <c:pt idx="1">
                  <c:v>293.02189999999996</c:v>
                </c:pt>
                <c:pt idx="2">
                  <c:v>332.9718</c:v>
                </c:pt>
                <c:pt idx="3">
                  <c:v>348.67411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240ML</c:v>
                </c:pt>
              </c:strCache>
            </c:strRef>
          </c:cat>
          <c:val>
            <c:numRef>
              <c:f>Sheet1!$B$2:$B$3</c:f>
              <c:numCache>
                <c:formatCode>General</c:formatCode>
                <c:ptCount val="2"/>
                <c:pt idx="0">
                  <c:v>25.40557</c:v>
                </c:pt>
                <c:pt idx="1">
                  <c:v>99.890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92.14</a:t>
                    </a:r>
                  </a:p>
                </c:rich>
              </c:tx>
              <c:dLblPos val="t"/>
              <c:showLegendKey val="0"/>
              <c:showVal val="1"/>
              <c:showCatName val="0"/>
              <c:showSerName val="0"/>
              <c:showPercent val="0"/>
              <c:showBubbleSize val="0"/>
            </c:dLbl>
            <c:dLbl>
              <c:idx val="1"/>
              <c:tx>
                <c:rich>
                  <a:bodyPr/>
                  <a:lstStyle/>
                  <a:p>
                    <a:r>
                      <a:t>305.2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240ML</c:v>
                </c:pt>
              </c:strCache>
            </c:strRef>
          </c:cat>
          <c:val>
            <c:numRef>
              <c:f>Sheet1!$C$2:$C$3</c:f>
              <c:numCache>
                <c:formatCode>General</c:formatCode>
                <c:ptCount val="2"/>
                <c:pt idx="0">
                  <c:v>92.1361</c:v>
                </c:pt>
                <c:pt idx="1">
                  <c:v>305.29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240ML</c:v>
                </c:pt>
              </c:strCache>
            </c:strRef>
          </c:cat>
          <c:val>
            <c:numRef>
              <c:f>Sheet1!$D$2:$D$3</c:f>
              <c:numCache>
                <c:formatCode>General</c:formatCode>
                <c:ptCount val="2"/>
                <c:pt idx="0">
                  <c:v>76.323425</c:v>
                </c:pt>
                <c:pt idx="1">
                  <c:v>305.293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240ML</c:v>
                </c:pt>
              </c:strCache>
            </c:strRef>
          </c:cat>
          <c:val>
            <c:numRef>
              <c:f>Sheet1!$E$2:$E$3</c:f>
              <c:numCache>
                <c:formatCode>General</c:formatCode>
                <c:ptCount val="2"/>
                <c:pt idx="0">
                  <c:v>84.22976249999999</c:v>
                </c:pt>
                <c:pt idx="1">
                  <c:v>305.293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9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180ML</c:v>
                </c:pt>
              </c:strCache>
            </c:strRef>
          </c:cat>
          <c:val>
            <c:numRef>
              <c:f>Sheet1!$B$2:$B$3</c:f>
              <c:numCache>
                <c:formatCode>General</c:formatCode>
                <c:ptCount val="2"/>
                <c:pt idx="0">
                  <c:v>31.32796</c:v>
                </c:pt>
                <c:pt idx="1">
                  <c:v>0.0621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38.75</a:t>
                    </a:r>
                  </a:p>
                </c:rich>
              </c:tx>
              <c:dLblPos val="t"/>
              <c:showLegendKey val="0"/>
              <c:showVal val="1"/>
              <c:showCatName val="0"/>
              <c:showSerName val="0"/>
              <c:showPercent val="0"/>
              <c:showBubbleSize val="0"/>
            </c:dLbl>
            <c:dLbl>
              <c:idx val="1"/>
              <c:tx>
                <c:rich>
                  <a:bodyPr/>
                  <a:lstStyle/>
                  <a:p>
                    <a:r>
                      <a:t>265.0</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180ML</c:v>
                </c:pt>
              </c:strCache>
            </c:strRef>
          </c:cat>
          <c:val>
            <c:numRef>
              <c:f>Sheet1!$C$2:$C$3</c:f>
              <c:numCache>
                <c:formatCode>General</c:formatCode>
                <c:ptCount val="2"/>
                <c:pt idx="0">
                  <c:v>338.7486</c:v>
                </c:pt>
                <c:pt idx="1">
                  <c:v>265.0</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180ML</c:v>
                </c:pt>
              </c:strCache>
            </c:strRef>
          </c:cat>
          <c:val>
            <c:numRef>
              <c:f>Sheet1!$D$2:$D$3</c:f>
              <c:numCache>
                <c:formatCode>General</c:formatCode>
                <c:ptCount val="2"/>
                <c:pt idx="0">
                  <c:v>338.7486</c:v>
                </c:pt>
                <c:pt idx="1">
                  <c:v>358.6749882352941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180ML</c:v>
                </c:pt>
              </c:strCache>
            </c:strRef>
          </c:cat>
          <c:val>
            <c:numRef>
              <c:f>Sheet1!$E$2:$E$3</c:f>
              <c:numCache>
                <c:formatCode>General</c:formatCode>
                <c:ptCount val="2"/>
                <c:pt idx="0">
                  <c:v>338.7486</c:v>
                </c:pt>
                <c:pt idx="1">
                  <c:v>311.837494117647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2.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0ML</c:v>
                </c:pt>
                <c:pt idx="1">
                  <c:v>220ML</c:v>
                </c:pt>
              </c:strCache>
            </c:strRef>
          </c:cat>
          <c:val>
            <c:numRef>
              <c:f>Sheet1!$B$2:$B$3</c:f>
              <c:numCache>
                <c:formatCode>General</c:formatCode>
                <c:ptCount val="2"/>
                <c:pt idx="0">
                  <c:v>0.11148</c:v>
                </c:pt>
                <c:pt idx="1">
                  <c:v>25.357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26.51</a:t>
                    </a:r>
                  </a:p>
                </c:rich>
              </c:tx>
              <c:dLblPos val="t"/>
              <c:showLegendKey val="0"/>
              <c:showVal val="1"/>
              <c:showCatName val="0"/>
              <c:showSerName val="0"/>
              <c:showPercent val="0"/>
              <c:showBubbleSize val="0"/>
            </c:dLbl>
            <c:dLbl>
              <c:idx val="1"/>
              <c:tx>
                <c:rich>
                  <a:bodyPr/>
                  <a:lstStyle/>
                  <a:p>
                    <a:r>
                      <a:t>329.1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0ML</c:v>
                </c:pt>
                <c:pt idx="1">
                  <c:v>220ML</c:v>
                </c:pt>
              </c:strCache>
            </c:strRef>
          </c:cat>
          <c:val>
            <c:numRef>
              <c:f>Sheet1!$C$2:$C$3</c:f>
              <c:numCache>
                <c:formatCode>General</c:formatCode>
                <c:ptCount val="2"/>
                <c:pt idx="0">
                  <c:v>326.5143</c:v>
                </c:pt>
                <c:pt idx="1">
                  <c:v>329.191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0ML</c:v>
                </c:pt>
                <c:pt idx="1">
                  <c:v>220ML</c:v>
                </c:pt>
              </c:strCache>
            </c:strRef>
          </c:cat>
          <c:val>
            <c:numRef>
              <c:f>Sheet1!$D$2:$D$3</c:f>
              <c:numCache>
                <c:formatCode>General</c:formatCode>
                <c:ptCount val="2"/>
                <c:pt idx="0">
                  <c:v>254.37548181818184</c:v>
                </c:pt>
                <c:pt idx="1">
                  <c:v>329.191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0ML</c:v>
                </c:pt>
                <c:pt idx="1">
                  <c:v>220ML</c:v>
                </c:pt>
              </c:strCache>
            </c:strRef>
          </c:cat>
          <c:val>
            <c:numRef>
              <c:f>Sheet1!$E$2:$E$3</c:f>
              <c:numCache>
                <c:formatCode>General</c:formatCode>
                <c:ptCount val="2"/>
                <c:pt idx="0">
                  <c:v>290.44489090909093</c:v>
                </c:pt>
                <c:pt idx="1">
                  <c:v>329.191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50.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80ML</c:v>
                </c:pt>
                <c:pt idx="1">
                  <c:v>236ML</c:v>
                </c:pt>
              </c:strCache>
            </c:strRef>
          </c:cat>
          <c:val>
            <c:numRef>
              <c:f>Sheet1!$B$2:$B$3</c:f>
              <c:numCache>
                <c:formatCode>General</c:formatCode>
                <c:ptCount val="2"/>
                <c:pt idx="0">
                  <c:v>32.6135</c:v>
                </c:pt>
                <c:pt idx="1">
                  <c:v>1.617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359.75</a:t>
                    </a:r>
                  </a:p>
                </c:rich>
              </c:tx>
              <c:dLblPos val="t"/>
              <c:showLegendKey val="0"/>
              <c:showVal val="1"/>
              <c:showCatName val="0"/>
              <c:showSerName val="0"/>
              <c:showPercent val="0"/>
              <c:showBubbleSize val="0"/>
            </c:dLbl>
            <c:dLbl>
              <c:idx val="1"/>
              <c:tx>
                <c:rich>
                  <a:bodyPr/>
                  <a:lstStyle/>
                  <a:p>
                    <a:r>
                      <a:t>373.7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80ML</c:v>
                </c:pt>
                <c:pt idx="1">
                  <c:v>236ML</c:v>
                </c:pt>
              </c:strCache>
            </c:strRef>
          </c:cat>
          <c:val>
            <c:numRef>
              <c:f>Sheet1!$C$2:$C$3</c:f>
              <c:numCache>
                <c:formatCode>General</c:formatCode>
                <c:ptCount val="2"/>
                <c:pt idx="0">
                  <c:v>359.7462</c:v>
                </c:pt>
                <c:pt idx="1">
                  <c:v>373.76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80ML</c:v>
                </c:pt>
                <c:pt idx="1">
                  <c:v>236ML</c:v>
                </c:pt>
              </c:strCache>
            </c:strRef>
          </c:cat>
          <c:val>
            <c:numRef>
              <c:f>Sheet1!$D$2:$D$3</c:f>
              <c:numCache>
                <c:formatCode>General</c:formatCode>
                <c:ptCount val="2"/>
                <c:pt idx="0">
                  <c:v>359.7462</c:v>
                </c:pt>
                <c:pt idx="1">
                  <c:v>471.667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80ML</c:v>
                </c:pt>
                <c:pt idx="1">
                  <c:v>236ML</c:v>
                </c:pt>
              </c:strCache>
            </c:strRef>
          </c:cat>
          <c:val>
            <c:numRef>
              <c:f>Sheet1!$E$2:$E$3</c:f>
              <c:numCache>
                <c:formatCode>General</c:formatCode>
                <c:ptCount val="2"/>
                <c:pt idx="0">
                  <c:v>359.7462</c:v>
                </c:pt>
                <c:pt idx="1">
                  <c:v>422.7174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4.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rgbClr val="BCBBBB"/>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60ML</c:v>
                </c:pt>
                <c:pt idx="1">
                  <c:v>180ML</c:v>
                </c:pt>
              </c:strCache>
            </c:strRef>
          </c:cat>
          <c:val>
            <c:numRef>
              <c:f>Sheet1!$B$2:$B$3</c:f>
              <c:numCache>
                <c:formatCode>General</c:formatCode>
                <c:ptCount val="2"/>
                <c:pt idx="0">
                  <c:v>9.25104</c:v>
                </c:pt>
                <c:pt idx="1">
                  <c:v>14.295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88.14</a:t>
                    </a:r>
                  </a:p>
                </c:rich>
              </c:tx>
              <c:dLblPos val="t"/>
              <c:showLegendKey val="0"/>
              <c:showVal val="1"/>
              <c:showCatName val="0"/>
              <c:showSerName val="0"/>
              <c:showPercent val="0"/>
              <c:showBubbleSize val="0"/>
            </c:dLbl>
            <c:dLbl>
              <c:idx val="1"/>
              <c:tx>
                <c:rich>
                  <a:bodyPr/>
                  <a:lstStyle/>
                  <a:p>
                    <a:r>
                      <a:t>358.0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60ML</c:v>
                </c:pt>
                <c:pt idx="1">
                  <c:v>180ML</c:v>
                </c:pt>
              </c:strCache>
            </c:strRef>
          </c:cat>
          <c:val>
            <c:numRef>
              <c:f>Sheet1!$C$2:$C$3</c:f>
              <c:numCache>
                <c:formatCode>General</c:formatCode>
                <c:ptCount val="2"/>
                <c:pt idx="0">
                  <c:v>88.1362</c:v>
                </c:pt>
                <c:pt idx="1">
                  <c:v>358.046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60ML</c:v>
                </c:pt>
                <c:pt idx="1">
                  <c:v>180ML</c:v>
                </c:pt>
              </c:strCache>
            </c:strRef>
          </c:cat>
          <c:val>
            <c:numRef>
              <c:f>Sheet1!$D$2:$D$3</c:f>
              <c:numCache>
                <c:formatCode>General</c:formatCode>
                <c:ptCount val="2"/>
                <c:pt idx="0">
                  <c:v>88.1362</c:v>
                </c:pt>
                <c:pt idx="1">
                  <c:v>264.408600000000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60ML</c:v>
                </c:pt>
                <c:pt idx="1">
                  <c:v>180ML</c:v>
                </c:pt>
              </c:strCache>
            </c:strRef>
          </c:cat>
          <c:val>
            <c:numRef>
              <c:f>Sheet1!$E$2:$E$3</c:f>
              <c:numCache>
                <c:formatCode>General</c:formatCode>
                <c:ptCount val="2"/>
                <c:pt idx="0">
                  <c:v>88.1362</c:v>
                </c:pt>
                <c:pt idx="1">
                  <c:v>311.22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8.0"/>
          <c:min val="0.0"/>
        </c:scaling>
        <c:delete val="0"/>
        <c:axPos val="r"/>
        <c:numFmt formatCode="#,##0.00"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Liquido Sunscreen Cosmetics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6809508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rema Sunscreen Cosmetics No Spray Crema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105433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60"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928678">
                  <a:extLst>
                    <a:ext uri="{9D8B030D-6E8A-4147-A177-3AD203B41FA5}">
                      <a16:colId xmlns:a16="http://schemas.microsoft.com/office/drawing/2014/main" val="2253286919"/>
                    </a:ext>
                  </a:extLst>
                </a:gridCol>
                <a:gridCol w="928678">
                  <a:extLst>
                    <a:ext uri="{9D8B030D-6E8A-4147-A177-3AD203B41FA5}">
                      <a16:colId xmlns:a16="http://schemas.microsoft.com/office/drawing/2014/main" val="2739285047"/>
                    </a:ext>
                  </a:extLst>
                </a:gridCol>
                <a:gridCol w="928678">
                  <a:extLst>
                    <a:ext uri="{9D8B030D-6E8A-4147-A177-3AD203B41FA5}">
                      <a16:colId xmlns:a16="http://schemas.microsoft.com/office/drawing/2014/main" val="686050863"/>
                    </a:ext>
                  </a:extLst>
                </a:gridCol>
                <a:gridCol w="928678">
                  <a:extLst>
                    <a:ext uri="{9D8B030D-6E8A-4147-A177-3AD203B41FA5}">
                      <a16:colId xmlns:a16="http://schemas.microsoft.com/office/drawing/2014/main" val="3765127706"/>
                    </a:ext>
                  </a:extLst>
                </a:gridCol>
                <a:gridCol w="928678">
                  <a:extLst>
                    <a:ext uri="{9D8B030D-6E8A-4147-A177-3AD203B41FA5}">
                      <a16:colId xmlns:a16="http://schemas.microsoft.com/office/drawing/2014/main" val="273303937"/>
                    </a:ext>
                  </a:extLst>
                </a:gridCol>
                <a:gridCol w="928678">
                  <a:extLst>
                    <a:ext uri="{9D8B030D-6E8A-4147-A177-3AD203B41FA5}">
                      <a16:colId xmlns:a16="http://schemas.microsoft.com/office/drawing/2014/main" val="1190134658"/>
                    </a:ext>
                  </a:extLst>
                </a:gridCol>
                <a:gridCol w="928678">
                  <a:extLst>
                    <a:ext uri="{9D8B030D-6E8A-4147-A177-3AD203B41FA5}">
                      <a16:colId xmlns:a16="http://schemas.microsoft.com/office/drawing/2014/main" val="1152288185"/>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726274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5274255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Sport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957850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After Sun Gel After Sun Cosmetics No Spray Gel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41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196829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Banded Pack Sunscreen | Sunscreen Sunscreen | Sunscreen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229071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Cosmetics No Spray Crema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722922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Sport No Spray Crema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052383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0325798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625616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Banded Pack Sunscreen | Sunscreen Sunscreen | Sunscreen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2496427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Sport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608164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Cosmetics No Spray Locion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6"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083457">
                  <a:extLst>
                    <a:ext uri="{9D8B030D-6E8A-4147-A177-3AD203B41FA5}">
                      <a16:colId xmlns:a16="http://schemas.microsoft.com/office/drawing/2014/main" val="2253286919"/>
                    </a:ext>
                  </a:extLst>
                </a:gridCol>
                <a:gridCol w="1083457">
                  <a:extLst>
                    <a:ext uri="{9D8B030D-6E8A-4147-A177-3AD203B41FA5}">
                      <a16:colId xmlns:a16="http://schemas.microsoft.com/office/drawing/2014/main" val="2739285047"/>
                    </a:ext>
                  </a:extLst>
                </a:gridCol>
                <a:gridCol w="1083457">
                  <a:extLst>
                    <a:ext uri="{9D8B030D-6E8A-4147-A177-3AD203B41FA5}">
                      <a16:colId xmlns:a16="http://schemas.microsoft.com/office/drawing/2014/main" val="686050863"/>
                    </a:ext>
                  </a:extLst>
                </a:gridCol>
                <a:gridCol w="1083457">
                  <a:extLst>
                    <a:ext uri="{9D8B030D-6E8A-4147-A177-3AD203B41FA5}">
                      <a16:colId xmlns:a16="http://schemas.microsoft.com/office/drawing/2014/main" val="3765127706"/>
                    </a:ext>
                  </a:extLst>
                </a:gridCol>
                <a:gridCol w="1083457">
                  <a:extLst>
                    <a:ext uri="{9D8B030D-6E8A-4147-A177-3AD203B41FA5}">
                      <a16:colId xmlns:a16="http://schemas.microsoft.com/office/drawing/2014/main" val="273303937"/>
                    </a:ext>
                  </a:extLst>
                </a:gridCol>
                <a:gridCol w="1083457">
                  <a:extLst>
                    <a:ext uri="{9D8B030D-6E8A-4147-A177-3AD203B41FA5}">
                      <a16:colId xmlns:a16="http://schemas.microsoft.com/office/drawing/2014/main" val="1190134658"/>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530528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Sport No Spray Locion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984413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ray Sunscreen Cosmetics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96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791487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rema Sunscreen Cosmetics No Spray Crema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0773228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60"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928678">
                  <a:extLst>
                    <a:ext uri="{9D8B030D-6E8A-4147-A177-3AD203B41FA5}">
                      <a16:colId xmlns:a16="http://schemas.microsoft.com/office/drawing/2014/main" val="2253286919"/>
                    </a:ext>
                  </a:extLst>
                </a:gridCol>
                <a:gridCol w="928678">
                  <a:extLst>
                    <a:ext uri="{9D8B030D-6E8A-4147-A177-3AD203B41FA5}">
                      <a16:colId xmlns:a16="http://schemas.microsoft.com/office/drawing/2014/main" val="2739285047"/>
                    </a:ext>
                  </a:extLst>
                </a:gridCol>
                <a:gridCol w="928678">
                  <a:extLst>
                    <a:ext uri="{9D8B030D-6E8A-4147-A177-3AD203B41FA5}">
                      <a16:colId xmlns:a16="http://schemas.microsoft.com/office/drawing/2014/main" val="686050863"/>
                    </a:ext>
                  </a:extLst>
                </a:gridCol>
                <a:gridCol w="928678">
                  <a:extLst>
                    <a:ext uri="{9D8B030D-6E8A-4147-A177-3AD203B41FA5}">
                      <a16:colId xmlns:a16="http://schemas.microsoft.com/office/drawing/2014/main" val="3765127706"/>
                    </a:ext>
                  </a:extLst>
                </a:gridCol>
                <a:gridCol w="928678">
                  <a:extLst>
                    <a:ext uri="{9D8B030D-6E8A-4147-A177-3AD203B41FA5}">
                      <a16:colId xmlns:a16="http://schemas.microsoft.com/office/drawing/2014/main" val="273303937"/>
                    </a:ext>
                  </a:extLst>
                </a:gridCol>
                <a:gridCol w="928678">
                  <a:extLst>
                    <a:ext uri="{9D8B030D-6E8A-4147-A177-3AD203B41FA5}">
                      <a16:colId xmlns:a16="http://schemas.microsoft.com/office/drawing/2014/main" val="1190134658"/>
                    </a:ext>
                  </a:extLst>
                </a:gridCol>
                <a:gridCol w="928678">
                  <a:extLst>
                    <a:ext uri="{9D8B030D-6E8A-4147-A177-3AD203B41FA5}">
                      <a16:colId xmlns:a16="http://schemas.microsoft.com/office/drawing/2014/main" val="1152288185"/>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3497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143781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924957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Sport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7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9401369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rema Sunscreen Cosmetics No Spray Crema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7970902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60"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928678">
                  <a:extLst>
                    <a:ext uri="{9D8B030D-6E8A-4147-A177-3AD203B41FA5}">
                      <a16:colId xmlns:a16="http://schemas.microsoft.com/office/drawing/2014/main" val="2253286919"/>
                    </a:ext>
                  </a:extLst>
                </a:gridCol>
                <a:gridCol w="928678">
                  <a:extLst>
                    <a:ext uri="{9D8B030D-6E8A-4147-A177-3AD203B41FA5}">
                      <a16:colId xmlns:a16="http://schemas.microsoft.com/office/drawing/2014/main" val="2739285047"/>
                    </a:ext>
                  </a:extLst>
                </a:gridCol>
                <a:gridCol w="928678">
                  <a:extLst>
                    <a:ext uri="{9D8B030D-6E8A-4147-A177-3AD203B41FA5}">
                      <a16:colId xmlns:a16="http://schemas.microsoft.com/office/drawing/2014/main" val="686050863"/>
                    </a:ext>
                  </a:extLst>
                </a:gridCol>
                <a:gridCol w="928678">
                  <a:extLst>
                    <a:ext uri="{9D8B030D-6E8A-4147-A177-3AD203B41FA5}">
                      <a16:colId xmlns:a16="http://schemas.microsoft.com/office/drawing/2014/main" val="3765127706"/>
                    </a:ext>
                  </a:extLst>
                </a:gridCol>
                <a:gridCol w="928678">
                  <a:extLst>
                    <a:ext uri="{9D8B030D-6E8A-4147-A177-3AD203B41FA5}">
                      <a16:colId xmlns:a16="http://schemas.microsoft.com/office/drawing/2014/main" val="273303937"/>
                    </a:ext>
                  </a:extLst>
                </a:gridCol>
                <a:gridCol w="928678">
                  <a:extLst>
                    <a:ext uri="{9D8B030D-6E8A-4147-A177-3AD203B41FA5}">
                      <a16:colId xmlns:a16="http://schemas.microsoft.com/office/drawing/2014/main" val="1190134658"/>
                    </a:ext>
                  </a:extLst>
                </a:gridCol>
                <a:gridCol w="928678">
                  <a:extLst>
                    <a:ext uri="{9D8B030D-6E8A-4147-A177-3AD203B41FA5}">
                      <a16:colId xmlns:a16="http://schemas.microsoft.com/office/drawing/2014/main" val="1152288185"/>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52851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Cosmetics No Spray Crema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5142423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987082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Sport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4261162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Liquido Sunscreen Cosmetics No Spray Liquido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2580689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After Sun Gel After Sun Cosmetics No Spray Gel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413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444564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Banded Pack Sunscreen | Sunscreen Sunscreen | Sunscreen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6526616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Cosmetics No Spray Crema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4975313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Sport No Spray Crema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9159939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No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4077587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23579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Sport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523186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Sport No Spray Crema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1208676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Cosmetics No Spray Locion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8591352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Sport No Spray Locion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5623296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ray Sunscreen Cosmetics Spray Liquido | Canal Moderno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96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6901945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Liquido Sunscreen Cosmetics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3933756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Cosmetics No Spray Locion | Canal Tradic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8343133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eauty Care Sunscreen Liquido Sunscreen Cosmetics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0539299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After Sun Gel After Sun Cosmetics No Spray Gel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4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2428934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Cosmetics No Spray Crema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2110439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Crema Sunscreen Sport No Spray Crema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0955095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4282447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No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7755769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767421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Sport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442305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Cosmetics No Spray Locion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300148">
                  <a:extLst>
                    <a:ext uri="{9D8B030D-6E8A-4147-A177-3AD203B41FA5}">
                      <a16:colId xmlns:a16="http://schemas.microsoft.com/office/drawing/2014/main" val="2253286919"/>
                    </a:ext>
                  </a:extLst>
                </a:gridCol>
                <a:gridCol w="1300148">
                  <a:extLst>
                    <a:ext uri="{9D8B030D-6E8A-4147-A177-3AD203B41FA5}">
                      <a16:colId xmlns:a16="http://schemas.microsoft.com/office/drawing/2014/main" val="2739285047"/>
                    </a:ext>
                  </a:extLst>
                </a:gridCol>
                <a:gridCol w="1300148">
                  <a:extLst>
                    <a:ext uri="{9D8B030D-6E8A-4147-A177-3AD203B41FA5}">
                      <a16:colId xmlns:a16="http://schemas.microsoft.com/office/drawing/2014/main" val="686050863"/>
                    </a:ext>
                  </a:extLst>
                </a:gridCol>
                <a:gridCol w="1300148">
                  <a:extLst>
                    <a:ext uri="{9D8B030D-6E8A-4147-A177-3AD203B41FA5}">
                      <a16:colId xmlns:a16="http://schemas.microsoft.com/office/drawing/2014/main" val="3765127706"/>
                    </a:ext>
                  </a:extLst>
                </a:gridCol>
                <a:gridCol w="1300148">
                  <a:extLst>
                    <a:ext uri="{9D8B030D-6E8A-4147-A177-3AD203B41FA5}">
                      <a16:colId xmlns:a16="http://schemas.microsoft.com/office/drawing/2014/main" val="27330393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6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8896580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Sport No Spray Locion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7762658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Spray Sunscreen Cosmetics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967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8044692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Crema Sunscreen Cosmetics No Spray Crema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0831688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6"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083457">
                  <a:extLst>
                    <a:ext uri="{9D8B030D-6E8A-4147-A177-3AD203B41FA5}">
                      <a16:colId xmlns:a16="http://schemas.microsoft.com/office/drawing/2014/main" val="2253286919"/>
                    </a:ext>
                  </a:extLst>
                </a:gridCol>
                <a:gridCol w="1083457">
                  <a:extLst>
                    <a:ext uri="{9D8B030D-6E8A-4147-A177-3AD203B41FA5}">
                      <a16:colId xmlns:a16="http://schemas.microsoft.com/office/drawing/2014/main" val="2739285047"/>
                    </a:ext>
                  </a:extLst>
                </a:gridCol>
                <a:gridCol w="1083457">
                  <a:extLst>
                    <a:ext uri="{9D8B030D-6E8A-4147-A177-3AD203B41FA5}">
                      <a16:colId xmlns:a16="http://schemas.microsoft.com/office/drawing/2014/main" val="686050863"/>
                    </a:ext>
                  </a:extLst>
                </a:gridCol>
                <a:gridCol w="1083457">
                  <a:extLst>
                    <a:ext uri="{9D8B030D-6E8A-4147-A177-3AD203B41FA5}">
                      <a16:colId xmlns:a16="http://schemas.microsoft.com/office/drawing/2014/main" val="3765127706"/>
                    </a:ext>
                  </a:extLst>
                </a:gridCol>
                <a:gridCol w="1083457">
                  <a:extLst>
                    <a:ext uri="{9D8B030D-6E8A-4147-A177-3AD203B41FA5}">
                      <a16:colId xmlns:a16="http://schemas.microsoft.com/office/drawing/2014/main" val="273303937"/>
                    </a:ext>
                  </a:extLst>
                </a:gridCol>
                <a:gridCol w="1083457">
                  <a:extLst>
                    <a:ext uri="{9D8B030D-6E8A-4147-A177-3AD203B41FA5}">
                      <a16:colId xmlns:a16="http://schemas.microsoft.com/office/drawing/2014/main" val="1190134658"/>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4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1464444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Cosmetics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4"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1625185">
                  <a:extLst>
                    <a:ext uri="{9D8B030D-6E8A-4147-A177-3AD203B41FA5}">
                      <a16:colId xmlns:a16="http://schemas.microsoft.com/office/drawing/2014/main" val="2253286919"/>
                    </a:ext>
                  </a:extLst>
                </a:gridCol>
                <a:gridCol w="1625185">
                  <a:extLst>
                    <a:ext uri="{9D8B030D-6E8A-4147-A177-3AD203B41FA5}">
                      <a16:colId xmlns:a16="http://schemas.microsoft.com/office/drawing/2014/main" val="2739285047"/>
                    </a:ext>
                  </a:extLst>
                </a:gridCol>
                <a:gridCol w="1625185">
                  <a:extLst>
                    <a:ext uri="{9D8B030D-6E8A-4147-A177-3AD203B41FA5}">
                      <a16:colId xmlns:a16="http://schemas.microsoft.com/office/drawing/2014/main" val="686050863"/>
                    </a:ext>
                  </a:extLst>
                </a:gridCol>
                <a:gridCol w="1625185">
                  <a:extLst>
                    <a:ext uri="{9D8B030D-6E8A-4147-A177-3AD203B41FA5}">
                      <a16:colId xmlns:a16="http://schemas.microsoft.com/office/drawing/2014/main" val="3765127706"/>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9063431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Hawaiian Tropic Sunscreen Liquido Sunscreen Sport No Spray Liquido | Autos Scanning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576874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Cosmetics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7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3540797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iquido Sunscreen Sport Spray Liquido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901329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Cosmetics No Spray Locion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9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2759088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anana Boat Sunscreen Locion Sunscreen Sport No Spray Locion | Convenience + Farmacias Cad + Hard Discounters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869452898"/>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1/2025</a:t>
            </a:fld>
            <a:endParaRPr lang="en-US" sz="500"/>
          </a:p>
        </p:txBody>
      </p:sp>
    </p:spTree>
    <p:extLst>
      <p:ext uri="{BB962C8B-B14F-4D97-AF65-F5344CB8AC3E}">
        <p14:creationId xmlns:p14="http://schemas.microsoft.com/office/powerpoint/2010/main" val="113222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9339</Words>
  <Application>Microsoft Office PowerPoint</Application>
  <PresentationFormat>On-screen Show (16:9)</PresentationFormat>
  <Paragraphs>4699</Paragraphs>
  <Slides>5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7"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1T07:4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